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5" r:id="rId2"/>
  </p:sldMasterIdLst>
  <p:notesMasterIdLst>
    <p:notesMasterId r:id="rId8"/>
  </p:notesMasterIdLst>
  <p:handoutMasterIdLst>
    <p:handoutMasterId r:id="rId9"/>
  </p:handoutMasterIdLst>
  <p:sldIdLst>
    <p:sldId id="778" r:id="rId3"/>
    <p:sldId id="829" r:id="rId4"/>
    <p:sldId id="779" r:id="rId5"/>
    <p:sldId id="798" r:id="rId6"/>
    <p:sldId id="799" r:id="rId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jq" initials="L" lastIdx="3" clrIdx="0">
    <p:extLst>
      <p:ext uri="{19B8F6BF-5375-455C-9EA6-DF929625EA0E}">
        <p15:presenceInfo xmlns:p15="http://schemas.microsoft.com/office/powerpoint/2012/main" userId="ljq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E76CE"/>
    <a:srgbClr val="002060"/>
    <a:srgbClr val="1616FF"/>
    <a:srgbClr val="4472C4"/>
    <a:srgbClr val="7C8CAD"/>
    <a:srgbClr val="800080"/>
    <a:srgbClr val="FF0000"/>
    <a:srgbClr val="DAE3F3"/>
    <a:srgbClr val="FFFFFF"/>
    <a:srgbClr val="F3BD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105FCB-0642-44F7-871E-FAAF2C63C75F}" v="65" dt="2020-12-10T08:26:25.1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78" autoAdjust="0"/>
    <p:restoredTop sz="91811" autoAdjust="0"/>
  </p:normalViewPr>
  <p:slideViewPr>
    <p:cSldViewPr snapToGrid="0">
      <p:cViewPr varScale="1">
        <p:scale>
          <a:sx n="111" d="100"/>
          <a:sy n="111" d="100"/>
        </p:scale>
        <p:origin x="970" y="10"/>
      </p:cViewPr>
      <p:guideLst/>
    </p:cSldViewPr>
  </p:slideViewPr>
  <p:notesTextViewPr>
    <p:cViewPr>
      <p:scale>
        <a:sx n="300" d="100"/>
        <a:sy n="300" d="100"/>
      </p:scale>
      <p:origin x="0" y="0"/>
    </p:cViewPr>
  </p:notesTextViewPr>
  <p:notesViewPr>
    <p:cSldViewPr snapToGrid="0">
      <p:cViewPr varScale="1">
        <p:scale>
          <a:sx n="91" d="100"/>
          <a:sy n="91" d="100"/>
        </p:scale>
        <p:origin x="4133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晓聪" userId="1602ba28-6a22-431f-b3bb-09adee84236e" providerId="ADAL" clId="{AE105FCB-0642-44F7-871E-FAAF2C63C75F}"/>
    <pc:docChg chg="undo custSel addSld delSld modSld sldOrd modMainMaster">
      <pc:chgData name="晓聪" userId="1602ba28-6a22-431f-b3bb-09adee84236e" providerId="ADAL" clId="{AE105FCB-0642-44F7-871E-FAAF2C63C75F}" dt="2020-12-10T08:26:25.164" v="255"/>
      <pc:docMkLst>
        <pc:docMk/>
      </pc:docMkLst>
      <pc:sldChg chg="ord">
        <pc:chgData name="晓聪" userId="1602ba28-6a22-431f-b3bb-09adee84236e" providerId="ADAL" clId="{AE105FCB-0642-44F7-871E-FAAF2C63C75F}" dt="2020-12-10T08:26:25.164" v="255"/>
        <pc:sldMkLst>
          <pc:docMk/>
          <pc:sldMk cId="868305257" sldId="382"/>
        </pc:sldMkLst>
      </pc:sldChg>
      <pc:sldChg chg="addSp modSp">
        <pc:chgData name="晓聪" userId="1602ba28-6a22-431f-b3bb-09adee84236e" providerId="ADAL" clId="{AE105FCB-0642-44F7-871E-FAAF2C63C75F}" dt="2020-12-10T08:07:12.086" v="174" actId="1076"/>
        <pc:sldMkLst>
          <pc:docMk/>
          <pc:sldMk cId="1446605781" sldId="416"/>
        </pc:sldMkLst>
        <pc:spChg chg="add mod">
          <ac:chgData name="晓聪" userId="1602ba28-6a22-431f-b3bb-09adee84236e" providerId="ADAL" clId="{AE105FCB-0642-44F7-871E-FAAF2C63C75F}" dt="2020-12-10T08:07:12.086" v="174" actId="1076"/>
          <ac:spMkLst>
            <pc:docMk/>
            <pc:sldMk cId="1446605781" sldId="416"/>
            <ac:spMk id="13" creationId="{730D688C-00E8-4E90-9B43-5D3D65030E77}"/>
          </ac:spMkLst>
        </pc:spChg>
      </pc:sldChg>
      <pc:sldChg chg="del">
        <pc:chgData name="晓聪" userId="1602ba28-6a22-431f-b3bb-09adee84236e" providerId="ADAL" clId="{AE105FCB-0642-44F7-871E-FAAF2C63C75F}" dt="2020-12-10T08:05:29.295" v="137" actId="2696"/>
        <pc:sldMkLst>
          <pc:docMk/>
          <pc:sldMk cId="578366711" sldId="428"/>
        </pc:sldMkLst>
      </pc:sldChg>
      <pc:sldChg chg="modSp add">
        <pc:chgData name="晓聪" userId="1602ba28-6a22-431f-b3bb-09adee84236e" providerId="ADAL" clId="{AE105FCB-0642-44F7-871E-FAAF2C63C75F}" dt="2020-12-10T08:05:25.873" v="136" actId="27636"/>
        <pc:sldMkLst>
          <pc:docMk/>
          <pc:sldMk cId="848197508" sldId="439"/>
        </pc:sldMkLst>
        <pc:spChg chg="mod">
          <ac:chgData name="晓聪" userId="1602ba28-6a22-431f-b3bb-09adee84236e" providerId="ADAL" clId="{AE105FCB-0642-44F7-871E-FAAF2C63C75F}" dt="2020-12-10T08:05:25.873" v="136" actId="27636"/>
          <ac:spMkLst>
            <pc:docMk/>
            <pc:sldMk cId="848197508" sldId="439"/>
            <ac:spMk id="3" creationId="{7F27FB7E-B52B-4DC5-95F3-18B583D2CDFB}"/>
          </ac:spMkLst>
        </pc:spChg>
      </pc:sldChg>
      <pc:sldChg chg="addSp add">
        <pc:chgData name="晓聪" userId="1602ba28-6a22-431f-b3bb-09adee84236e" providerId="ADAL" clId="{AE105FCB-0642-44F7-871E-FAAF2C63C75F}" dt="2020-12-10T08:15:24.845" v="181"/>
        <pc:sldMkLst>
          <pc:docMk/>
          <pc:sldMk cId="2260227807" sldId="440"/>
        </pc:sldMkLst>
        <pc:picChg chg="add">
          <ac:chgData name="晓聪" userId="1602ba28-6a22-431f-b3bb-09adee84236e" providerId="ADAL" clId="{AE105FCB-0642-44F7-871E-FAAF2C63C75F}" dt="2020-12-10T08:15:24.845" v="181"/>
          <ac:picMkLst>
            <pc:docMk/>
            <pc:sldMk cId="2260227807" sldId="440"/>
            <ac:picMk id="2" creationId="{6D22B330-57ED-495C-B875-5FC160CCCE5E}"/>
          </ac:picMkLst>
        </pc:picChg>
      </pc:sldChg>
      <pc:sldChg chg="modSp add del">
        <pc:chgData name="晓聪" userId="1602ba28-6a22-431f-b3bb-09adee84236e" providerId="ADAL" clId="{AE105FCB-0642-44F7-871E-FAAF2C63C75F}" dt="2020-12-10T08:15:21.373" v="179" actId="2696"/>
        <pc:sldMkLst>
          <pc:docMk/>
          <pc:sldMk cId="3171958245" sldId="440"/>
        </pc:sldMkLst>
        <pc:spChg chg="mod">
          <ac:chgData name="晓聪" userId="1602ba28-6a22-431f-b3bb-09adee84236e" providerId="ADAL" clId="{AE105FCB-0642-44F7-871E-FAAF2C63C75F}" dt="2020-12-10T08:15:19.026" v="178" actId="27636"/>
          <ac:spMkLst>
            <pc:docMk/>
            <pc:sldMk cId="3171958245" sldId="440"/>
            <ac:spMk id="3" creationId="{AE2F432E-EF8D-475C-833A-9C0FB5DA12AD}"/>
          </ac:spMkLst>
        </pc:spChg>
      </pc:sldChg>
      <pc:sldChg chg="addSp delSp modSp add">
        <pc:chgData name="晓聪" userId="1602ba28-6a22-431f-b3bb-09adee84236e" providerId="ADAL" clId="{AE105FCB-0642-44F7-871E-FAAF2C63C75F}" dt="2020-12-10T08:20:33.480" v="193" actId="14100"/>
        <pc:sldMkLst>
          <pc:docMk/>
          <pc:sldMk cId="4237657132" sldId="441"/>
        </pc:sldMkLst>
        <pc:picChg chg="add del mod modCrop">
          <ac:chgData name="晓聪" userId="1602ba28-6a22-431f-b3bb-09adee84236e" providerId="ADAL" clId="{AE105FCB-0642-44F7-871E-FAAF2C63C75F}" dt="2020-12-10T08:20:33.480" v="193" actId="14100"/>
          <ac:picMkLst>
            <pc:docMk/>
            <pc:sldMk cId="4237657132" sldId="441"/>
            <ac:picMk id="2" creationId="{DEC44678-ED5C-4554-BCE0-D9D0B8CC1B20}"/>
          </ac:picMkLst>
        </pc:picChg>
      </pc:sldChg>
      <pc:sldChg chg="addSp modSp add ord">
        <pc:chgData name="晓聪" userId="1602ba28-6a22-431f-b3bb-09adee84236e" providerId="ADAL" clId="{AE105FCB-0642-44F7-871E-FAAF2C63C75F}" dt="2020-12-10T08:25:21.504" v="253" actId="207"/>
        <pc:sldMkLst>
          <pc:docMk/>
          <pc:sldMk cId="2499468680" sldId="442"/>
        </pc:sldMkLst>
        <pc:spChg chg="add mod">
          <ac:chgData name="晓聪" userId="1602ba28-6a22-431f-b3bb-09adee84236e" providerId="ADAL" clId="{AE105FCB-0642-44F7-871E-FAAF2C63C75F}" dt="2020-12-10T08:25:21.504" v="253" actId="207"/>
          <ac:spMkLst>
            <pc:docMk/>
            <pc:sldMk cId="2499468680" sldId="442"/>
            <ac:spMk id="4" creationId="{8179F93F-B964-4977-A5B6-D40DF697CD71}"/>
          </ac:spMkLst>
        </pc:spChg>
        <pc:picChg chg="add mod">
          <ac:chgData name="晓聪" userId="1602ba28-6a22-431f-b3bb-09adee84236e" providerId="ADAL" clId="{AE105FCB-0642-44F7-871E-FAAF2C63C75F}" dt="2020-12-10T08:21:44.004" v="205" actId="1076"/>
          <ac:picMkLst>
            <pc:docMk/>
            <pc:sldMk cId="2499468680" sldId="442"/>
            <ac:picMk id="3" creationId="{D0F38D62-9F5D-41AF-91E2-CD467D4BAEA3}"/>
          </ac:picMkLst>
        </pc:picChg>
      </pc:sldChg>
      <pc:sldMasterChg chg="modSldLayout">
        <pc:chgData name="晓聪" userId="1602ba28-6a22-431f-b3bb-09adee84236e" providerId="ADAL" clId="{AE105FCB-0642-44F7-871E-FAAF2C63C75F}" dt="2020-12-10T08:08:19.724" v="176" actId="122"/>
        <pc:sldMasterMkLst>
          <pc:docMk/>
          <pc:sldMasterMk cId="1725391737" sldId="2147483648"/>
        </pc:sldMasterMkLst>
        <pc:sldLayoutChg chg="addSp modSp">
          <pc:chgData name="晓聪" userId="1602ba28-6a22-431f-b3bb-09adee84236e" providerId="ADAL" clId="{AE105FCB-0642-44F7-871E-FAAF2C63C75F}" dt="2020-12-10T08:08:09.995" v="175" actId="122"/>
          <pc:sldLayoutMkLst>
            <pc:docMk/>
            <pc:sldMasterMk cId="1725391737" sldId="2147483648"/>
            <pc:sldLayoutMk cId="3120569400" sldId="2147483660"/>
          </pc:sldLayoutMkLst>
          <pc:spChg chg="add mod">
            <ac:chgData name="晓聪" userId="1602ba28-6a22-431f-b3bb-09adee84236e" providerId="ADAL" clId="{AE105FCB-0642-44F7-871E-FAAF2C63C75F}" dt="2020-12-10T08:06:11.068" v="167" actId="1076"/>
            <ac:spMkLst>
              <pc:docMk/>
              <pc:sldMasterMk cId="1725391737" sldId="2147483648"/>
              <pc:sldLayoutMk cId="3120569400" sldId="2147483660"/>
              <ac:spMk id="18" creationId="{7C488920-9DAA-4576-93CB-087EDD24D832}"/>
            </ac:spMkLst>
          </pc:spChg>
          <pc:spChg chg="mod">
            <ac:chgData name="晓聪" userId="1602ba28-6a22-431f-b3bb-09adee84236e" providerId="ADAL" clId="{AE105FCB-0642-44F7-871E-FAAF2C63C75F}" dt="2020-12-10T08:08:09.995" v="175" actId="122"/>
            <ac:spMkLst>
              <pc:docMk/>
              <pc:sldMasterMk cId="1725391737" sldId="2147483648"/>
              <pc:sldLayoutMk cId="3120569400" sldId="2147483660"/>
              <ac:spMk id="27" creationId="{CC783243-048E-4582-AF9C-0B37148A8D41}"/>
            </ac:spMkLst>
          </pc:spChg>
          <pc:picChg chg="mod modCrop">
            <ac:chgData name="晓聪" userId="1602ba28-6a22-431f-b3bb-09adee84236e" providerId="ADAL" clId="{AE105FCB-0642-44F7-871E-FAAF2C63C75F}" dt="2020-12-10T08:03:22.354" v="5" actId="14100"/>
            <ac:picMkLst>
              <pc:docMk/>
              <pc:sldMasterMk cId="1725391737" sldId="2147483648"/>
              <pc:sldLayoutMk cId="3120569400" sldId="2147483660"/>
              <ac:picMk id="16" creationId="{AA04FCCD-3702-4020-9E7B-983E163E434D}"/>
            </ac:picMkLst>
          </pc:picChg>
          <pc:cxnChg chg="add mod">
            <ac:chgData name="晓聪" userId="1602ba28-6a22-431f-b3bb-09adee84236e" providerId="ADAL" clId="{AE105FCB-0642-44F7-871E-FAAF2C63C75F}" dt="2020-12-10T08:05:07.033" v="134" actId="1582"/>
            <ac:cxnSpMkLst>
              <pc:docMk/>
              <pc:sldMasterMk cId="1725391737" sldId="2147483648"/>
              <pc:sldLayoutMk cId="3120569400" sldId="2147483660"/>
              <ac:cxnSpMk id="4" creationId="{57E707DA-476D-4510-A059-342F3F3042FF}"/>
            </ac:cxnSpMkLst>
          </pc:cxnChg>
        </pc:sldLayoutChg>
        <pc:sldLayoutChg chg="addSp delSp modSp">
          <pc:chgData name="晓聪" userId="1602ba28-6a22-431f-b3bb-09adee84236e" providerId="ADAL" clId="{AE105FCB-0642-44F7-871E-FAAF2C63C75F}" dt="2020-12-10T08:08:19.724" v="176" actId="122"/>
          <pc:sldLayoutMkLst>
            <pc:docMk/>
            <pc:sldMasterMk cId="1725391737" sldId="2147483648"/>
            <pc:sldLayoutMk cId="170067784" sldId="2147483664"/>
          </pc:sldLayoutMkLst>
          <pc:spChg chg="mod">
            <ac:chgData name="晓聪" userId="1602ba28-6a22-431f-b3bb-09adee84236e" providerId="ADAL" clId="{AE105FCB-0642-44F7-871E-FAAF2C63C75F}" dt="2020-12-10T08:08:19.724" v="176" actId="122"/>
            <ac:spMkLst>
              <pc:docMk/>
              <pc:sldMasterMk cId="1725391737" sldId="2147483648"/>
              <pc:sldLayoutMk cId="170067784" sldId="2147483664"/>
              <ac:spMk id="28" creationId="{F523A4FC-AA41-4DA4-981B-696EDCE10891}"/>
            </ac:spMkLst>
          </pc:spChg>
          <pc:picChg chg="add">
            <ac:chgData name="晓聪" userId="1602ba28-6a22-431f-b3bb-09adee84236e" providerId="ADAL" clId="{AE105FCB-0642-44F7-871E-FAAF2C63C75F}" dt="2020-12-10T08:03:26.547" v="7"/>
            <ac:picMkLst>
              <pc:docMk/>
              <pc:sldMasterMk cId="1725391737" sldId="2147483648"/>
              <pc:sldLayoutMk cId="170067784" sldId="2147483664"/>
              <ac:picMk id="10" creationId="{231977BA-3218-4E97-8BBE-29CF7098A625}"/>
            </ac:picMkLst>
          </pc:picChg>
          <pc:picChg chg="del">
            <ac:chgData name="晓聪" userId="1602ba28-6a22-431f-b3bb-09adee84236e" providerId="ADAL" clId="{AE105FCB-0642-44F7-871E-FAAF2C63C75F}" dt="2020-12-10T08:03:26.330" v="6" actId="478"/>
            <ac:picMkLst>
              <pc:docMk/>
              <pc:sldMasterMk cId="1725391737" sldId="2147483648"/>
              <pc:sldLayoutMk cId="170067784" sldId="2147483664"/>
              <ac:picMk id="20" creationId="{B73DD6AE-0C32-4B05-90A9-1C26FB347046}"/>
            </ac:picMkLst>
          </pc:pic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0CE8C7A0-7586-48FA-87E7-A3DC650235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DF4332A4-EE10-49EC-9667-C0626ADE9B5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53AED1-0515-4591-9382-3A77501DA381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B9249E8-28C3-4786-9206-058E04AB5F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751D747-8633-443B-950B-BA7BE0BF831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403BA5-1E9F-4D09-820D-16B84DE0B14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61006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E0655D-7040-4051-8CA9-E1335F6EA68B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61D50C-2A46-49BA-857E-9A3D9C20A6E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1084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zh-CN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1D50C-2A46-49BA-857E-9A3D9C20A6EE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3972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1D50C-2A46-49BA-857E-9A3D9C20A6E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65465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zh-CN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1D50C-2A46-49BA-857E-9A3D9C20A6EE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755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1D50C-2A46-49BA-857E-9A3D9C20A6E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45768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1D50C-2A46-49BA-857E-9A3D9C20A6EE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8893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1A7FEA22-A0F8-4AA1-B1EA-67538D0F2AAA}"/>
              </a:ext>
            </a:extLst>
          </p:cNvPr>
          <p:cNvSpPr/>
          <p:nvPr userDrawn="1"/>
        </p:nvSpPr>
        <p:spPr>
          <a:xfrm>
            <a:off x="0" y="1"/>
            <a:ext cx="12192000" cy="800776"/>
          </a:xfrm>
          <a:prstGeom prst="rect">
            <a:avLst/>
          </a:prstGeom>
          <a:solidFill>
            <a:srgbClr val="0E76C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流程图: 延期 10">
            <a:extLst>
              <a:ext uri="{FF2B5EF4-FFF2-40B4-BE49-F238E27FC236}">
                <a16:creationId xmlns:a16="http://schemas.microsoft.com/office/drawing/2014/main" id="{24143033-6E9E-4A4B-B328-2B2AD07EA11E}"/>
              </a:ext>
            </a:extLst>
          </p:cNvPr>
          <p:cNvSpPr/>
          <p:nvPr userDrawn="1"/>
        </p:nvSpPr>
        <p:spPr>
          <a:xfrm>
            <a:off x="0" y="66619"/>
            <a:ext cx="675647" cy="667540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灯片编号占位符 5">
            <a:extLst>
              <a:ext uri="{FF2B5EF4-FFF2-40B4-BE49-F238E27FC236}">
                <a16:creationId xmlns:a16="http://schemas.microsoft.com/office/drawing/2014/main" id="{CC783243-048E-4582-AF9C-0B37148A8D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3825" y="6486478"/>
            <a:ext cx="638175" cy="365125"/>
          </a:xfrm>
          <a:prstGeom prst="rect">
            <a:avLst/>
          </a:prstGeom>
          <a:solidFill>
            <a:srgbClr val="0E76CE"/>
          </a:solidFill>
        </p:spPr>
        <p:txBody>
          <a:bodyPr vert="horz" lIns="91440" tIns="45720" rIns="91440" bIns="45720" rtlCol="0" anchor="ctr"/>
          <a:lstStyle>
            <a:lvl1pPr algn="ctr">
              <a:defRPr sz="1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683E12FC-B727-46EE-A3F4-36BAB21DAD93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952C7C-8EA6-4B42-8069-DD143C8B174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0126" y="867395"/>
            <a:ext cx="8608573" cy="40260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p"/>
              <a:defRPr/>
            </a:lvl1pPr>
          </a:lstStyle>
          <a:p>
            <a:pPr lvl="0"/>
            <a:r>
              <a:rPr lang="en-US" altLang="zh-CN" dirty="0"/>
              <a:t> </a:t>
            </a:r>
            <a:r>
              <a:rPr lang="zh-CN" altLang="en-US" dirty="0"/>
              <a:t>页一级标题</a:t>
            </a:r>
            <a:endParaRPr lang="en-US" altLang="zh-CN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F752BB2-BC89-4567-81CE-8598D2FF10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62292" y="112520"/>
            <a:ext cx="789947" cy="590931"/>
          </a:xfrm>
        </p:spPr>
        <p:txBody>
          <a:bodyPr anchor="b"/>
          <a:lstStyle>
            <a:lvl1pPr algn="ctr">
              <a:defRPr sz="3600" b="1">
                <a:solidFill>
                  <a:srgbClr val="0E76CE"/>
                </a:solidFill>
              </a:defRPr>
            </a:lvl1pPr>
          </a:lstStyle>
          <a:p>
            <a:r>
              <a:rPr lang="en-US" altLang="zh-CN" dirty="0"/>
              <a:t>X</a:t>
            </a:r>
            <a:endParaRPr lang="zh-CN" altLang="en-US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D56EB662-0BE5-41A4-9C2E-F26503AA24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7939" y="157573"/>
            <a:ext cx="7910760" cy="485627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一级标题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A66BE40-E760-4B97-BA53-BB65AD41B6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127" y="1526621"/>
            <a:ext cx="4595373" cy="380403"/>
          </a:xfrm>
        </p:spPr>
        <p:txBody>
          <a:bodyPr/>
          <a:lstStyle>
            <a:lvl1pPr marL="285750" indent="-285750">
              <a:buFont typeface="Wingdings" panose="05000000000000000000" pitchFamily="2" charset="2"/>
              <a:buChar char="Ø"/>
              <a:defRPr sz="1800"/>
            </a:lvl1pPr>
            <a:lvl2pPr marL="288000" indent="0">
              <a:buNone/>
              <a:defRPr sz="1400"/>
            </a:lvl2pPr>
          </a:lstStyle>
          <a:p>
            <a:pPr lvl="0"/>
            <a:r>
              <a:rPr lang="zh-CN" altLang="en-US" dirty="0"/>
              <a:t>页二级标题</a:t>
            </a:r>
            <a:endParaRPr lang="en-US" altLang="zh-CN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550A4FC8-2181-48E3-88EA-F3AE73F258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126" y="1943901"/>
            <a:ext cx="4595373" cy="1574675"/>
          </a:xfr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504000" indent="-216000">
              <a:defRPr sz="1400"/>
            </a:lvl2pPr>
          </a:lstStyle>
          <a:p>
            <a:pPr lvl="0"/>
            <a:r>
              <a:rPr lang="zh-CN" altLang="en-US" dirty="0"/>
              <a:t>二级标题下的页内正文</a:t>
            </a:r>
            <a:endParaRPr lang="en-US" altLang="zh-CN" dirty="0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AA04FCCD-3702-4020-9E7B-983E163E43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203" b="11152"/>
          <a:stretch/>
        </p:blipFill>
        <p:spPr>
          <a:xfrm>
            <a:off x="11386235" y="0"/>
            <a:ext cx="805765" cy="800776"/>
          </a:xfrm>
          <a:prstGeom prst="rect">
            <a:avLst/>
          </a:prstGeom>
        </p:spPr>
      </p:pic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C488920-9DAA-4576-93CB-087EDD24D8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946" y="6636384"/>
            <a:ext cx="4595373" cy="200853"/>
          </a:xfrm>
        </p:spPr>
        <p:txBody>
          <a:bodyPr>
            <a:noAutofit/>
          </a:bodyPr>
          <a:lstStyle>
            <a:lvl1pPr marL="0" indent="0" algn="l">
              <a:buNone/>
              <a:defRPr sz="105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504000" indent="-216000">
              <a:defRPr sz="1400"/>
            </a:lvl2pPr>
          </a:lstStyle>
          <a:p>
            <a:pPr lvl="0"/>
            <a:r>
              <a:rPr lang="zh-CN" altLang="en-US" dirty="0"/>
              <a:t>会议、项目名称</a:t>
            </a:r>
            <a:r>
              <a:rPr lang="en-US" altLang="zh-CN" dirty="0"/>
              <a:t>/</a:t>
            </a:r>
            <a:r>
              <a:rPr lang="zh-CN" altLang="en-US" dirty="0"/>
              <a:t>地点</a:t>
            </a:r>
            <a:r>
              <a:rPr lang="en-US" altLang="zh-CN" dirty="0"/>
              <a:t>/</a:t>
            </a:r>
            <a:r>
              <a:rPr lang="zh-CN" altLang="en-US" dirty="0"/>
              <a:t>参考文献等</a:t>
            </a:r>
            <a:endParaRPr lang="en-US" altLang="zh-CN" dirty="0"/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57E707DA-476D-4510-A059-342F3F3042FF}"/>
              </a:ext>
            </a:extLst>
          </p:cNvPr>
          <p:cNvCxnSpPr/>
          <p:nvPr userDrawn="1"/>
        </p:nvCxnSpPr>
        <p:spPr>
          <a:xfrm flipH="1">
            <a:off x="0" y="6636384"/>
            <a:ext cx="11714480" cy="0"/>
          </a:xfrm>
          <a:prstGeom prst="line">
            <a:avLst/>
          </a:prstGeom>
          <a:ln w="12700"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569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292F3-F8B1-4DD7-95D1-C197255E9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F73C28-19B7-4EA9-8713-FFBDFDE0A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3176B7-20AF-415A-A603-A58FD83BDE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5A53DB-F2FA-41C4-92AC-5D56D0309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4377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AC2F1E-0BA5-44FD-A959-BAD553053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B51C0F-55E3-4EF3-A2FC-2A1511D33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CD283E-954D-41E1-B34D-7D8C06C0D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67674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3C40D9-095B-4F64-8A3C-D1DA6C3E2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68A5BD-9246-4711-9777-457CB80A0E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7BF9F5-4153-4941-8FBF-6E1C2574AA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C46BF6-9380-4BB1-9E3B-1424A50C01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3BF8DD-B5B2-4409-AB6A-B5C06819C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8BF9A4-D21A-4643-B3A2-D4915DF69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91841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1AE1EB-4886-4673-8A6F-EDF714230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DF2E7B-77BC-4FA4-8FD8-C2E20DFFF0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9E0F2F-F821-4EB5-8D37-15ADF831CC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9B50-5DAD-4784-9ED5-92BBBB0702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5F4B96-312A-406E-8974-F08AB4BA20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6335EF-D001-47E3-913D-9370083AE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7607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E368B-BB18-4261-A5E2-41C478D18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DC3624-9DA7-4FA4-9451-E1FF26B638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619243-33EE-421F-9034-C3506C196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0E401E-B834-42E1-9496-E08B8007C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AF8400-6B5D-4E9E-87A7-E507CF8B7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5022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B320B9C-C912-48F7-B01A-9661617380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76E41EB-4C55-4BF6-AA05-AE019826D8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15CCDF-8ADE-4C34-A664-2FE981DA52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763C7-3431-4852-B6DB-F4920AB1C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7051F9-67A9-4EC6-BB25-0E401771A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2662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灯片编号占位符 5">
            <a:extLst>
              <a:ext uri="{FF2B5EF4-FFF2-40B4-BE49-F238E27FC236}">
                <a16:creationId xmlns:a16="http://schemas.microsoft.com/office/drawing/2014/main" id="{F523A4FC-AA41-4DA4-981B-696EDCE108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3825" y="6453822"/>
            <a:ext cx="6381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 b="1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683E12FC-B727-46EE-A3F4-36BAB21DAD93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719A311E-EC8F-4229-8DE4-CA6CE047A922}"/>
              </a:ext>
            </a:extLst>
          </p:cNvPr>
          <p:cNvSpPr/>
          <p:nvPr userDrawn="1"/>
        </p:nvSpPr>
        <p:spPr>
          <a:xfrm>
            <a:off x="0" y="1"/>
            <a:ext cx="12192000" cy="800776"/>
          </a:xfrm>
          <a:prstGeom prst="rect">
            <a:avLst/>
          </a:prstGeom>
          <a:solidFill>
            <a:srgbClr val="0E76C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DD475F4C-266D-4448-862A-607A3329D83F}"/>
              </a:ext>
            </a:extLst>
          </p:cNvPr>
          <p:cNvGrpSpPr/>
          <p:nvPr userDrawn="1"/>
        </p:nvGrpSpPr>
        <p:grpSpPr>
          <a:xfrm>
            <a:off x="0" y="66619"/>
            <a:ext cx="1191780" cy="667540"/>
            <a:chOff x="-457201" y="66619"/>
            <a:chExt cx="1191780" cy="66754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id="{AD2BF193-CB9C-48FD-93CD-523177E20284}"/>
                </a:ext>
              </a:extLst>
            </p:cNvPr>
            <p:cNvSpPr/>
            <p:nvPr userDrawn="1"/>
          </p:nvSpPr>
          <p:spPr>
            <a:xfrm>
              <a:off x="-457201" y="66619"/>
              <a:ext cx="772499" cy="6675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 dirty="0"/>
            </a:p>
          </p:txBody>
        </p:sp>
        <p:sp>
          <p:nvSpPr>
            <p:cNvPr id="19" name="流程图: 延期 18">
              <a:extLst>
                <a:ext uri="{FF2B5EF4-FFF2-40B4-BE49-F238E27FC236}">
                  <a16:creationId xmlns:a16="http://schemas.microsoft.com/office/drawing/2014/main" id="{969DAA23-CDC1-4F71-A8F7-51509A6F9F0F}"/>
                </a:ext>
              </a:extLst>
            </p:cNvPr>
            <p:cNvSpPr/>
            <p:nvPr userDrawn="1"/>
          </p:nvSpPr>
          <p:spPr>
            <a:xfrm>
              <a:off x="58932" y="66619"/>
              <a:ext cx="675647" cy="667540"/>
            </a:xfrm>
            <a:prstGeom prst="flowChartDelay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" name="矩形 13">
            <a:extLst>
              <a:ext uri="{FF2B5EF4-FFF2-40B4-BE49-F238E27FC236}">
                <a16:creationId xmlns:a16="http://schemas.microsoft.com/office/drawing/2014/main" id="{6B8172F6-EA6E-4353-A8D8-496D86B30AD0}"/>
              </a:ext>
            </a:extLst>
          </p:cNvPr>
          <p:cNvSpPr/>
          <p:nvPr userDrawn="1"/>
        </p:nvSpPr>
        <p:spPr>
          <a:xfrm>
            <a:off x="0" y="66619"/>
            <a:ext cx="1107996" cy="646331"/>
          </a:xfrm>
          <a:prstGeom prst="rect">
            <a:avLst/>
          </a:prstGeom>
          <a:noFill/>
          <a:effectLst/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E76C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231977BA-3218-4E97-8BBE-29CF7098A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203" b="11152"/>
          <a:stretch/>
        </p:blipFill>
        <p:spPr>
          <a:xfrm>
            <a:off x="11386235" y="0"/>
            <a:ext cx="805765" cy="800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67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尾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142105D-5DB8-45C6-A01C-974DAAAC5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24"/>
            <a:ext cx="12192000" cy="6856351"/>
          </a:xfrm>
          <a:prstGeom prst="rect">
            <a:avLst/>
          </a:prstGeom>
        </p:spPr>
      </p:pic>
      <p:sp>
        <p:nvSpPr>
          <p:cNvPr id="16" name="矩形 1">
            <a:extLst>
              <a:ext uri="{FF2B5EF4-FFF2-40B4-BE49-F238E27FC236}">
                <a16:creationId xmlns:a16="http://schemas.microsoft.com/office/drawing/2014/main" id="{C9723017-83EE-40E4-884D-8F048AC0C151}"/>
              </a:ext>
            </a:extLst>
          </p:cNvPr>
          <p:cNvSpPr/>
          <p:nvPr userDrawn="1"/>
        </p:nvSpPr>
        <p:spPr>
          <a:xfrm>
            <a:off x="-1057" y="824"/>
            <a:ext cx="12193057" cy="6857176"/>
          </a:xfrm>
          <a:prstGeom prst="rect">
            <a:avLst/>
          </a:prstGeom>
          <a:solidFill>
            <a:srgbClr val="0070C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CB6B467-F440-4F6B-AFAE-85C127150F12}"/>
              </a:ext>
            </a:extLst>
          </p:cNvPr>
          <p:cNvSpPr/>
          <p:nvPr userDrawn="1"/>
        </p:nvSpPr>
        <p:spPr>
          <a:xfrm>
            <a:off x="0" y="5181600"/>
            <a:ext cx="12192000" cy="1676400"/>
          </a:xfrm>
          <a:prstGeom prst="rect">
            <a:avLst/>
          </a:prstGeom>
          <a:solidFill>
            <a:schemeClr val="bg2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20" name="组合 3">
            <a:extLst>
              <a:ext uri="{FF2B5EF4-FFF2-40B4-BE49-F238E27FC236}">
                <a16:creationId xmlns:a16="http://schemas.microsoft.com/office/drawing/2014/main" id="{54D1E6B5-D3F0-43E2-9DEE-A05B69CA6CB5}"/>
              </a:ext>
            </a:extLst>
          </p:cNvPr>
          <p:cNvGrpSpPr/>
          <p:nvPr userDrawn="1"/>
        </p:nvGrpSpPr>
        <p:grpSpPr>
          <a:xfrm>
            <a:off x="3437375" y="5352151"/>
            <a:ext cx="5317251" cy="1300134"/>
            <a:chOff x="2185901" y="5352151"/>
            <a:chExt cx="5317251" cy="1300134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5054ABC0-46D6-4B74-B858-9AE622B4AA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85901" y="5523374"/>
              <a:ext cx="3972099" cy="957688"/>
            </a:xfrm>
            <a:prstGeom prst="rect">
              <a:avLst/>
            </a:prstGeom>
          </p:spPr>
        </p:pic>
        <p:pic>
          <p:nvPicPr>
            <p:cNvPr id="22" name="图片 2">
              <a:extLst>
                <a:ext uri="{FF2B5EF4-FFF2-40B4-BE49-F238E27FC236}">
                  <a16:creationId xmlns:a16="http://schemas.microsoft.com/office/drawing/2014/main" id="{E36B8860-7E7A-406B-9EDB-3759752B43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2606" y="5352151"/>
              <a:ext cx="1000546" cy="1300134"/>
            </a:xfrm>
            <a:prstGeom prst="rect">
              <a:avLst/>
            </a:prstGeom>
          </p:spPr>
        </p:pic>
      </p:grpSp>
      <p:sp>
        <p:nvSpPr>
          <p:cNvPr id="25" name="Date Placeholder 5">
            <a:extLst>
              <a:ext uri="{FF2B5EF4-FFF2-40B4-BE49-F238E27FC236}">
                <a16:creationId xmlns:a16="http://schemas.microsoft.com/office/drawing/2014/main" id="{516F27D3-B7FC-420E-BFBD-6EBBB10F2A72}"/>
              </a:ext>
            </a:extLst>
          </p:cNvPr>
          <p:cNvSpPr txBox="1">
            <a:spLocks/>
          </p:cNvSpPr>
          <p:nvPr userDrawn="1"/>
        </p:nvSpPr>
        <p:spPr>
          <a:xfrm>
            <a:off x="4723871" y="4782136"/>
            <a:ext cx="2743200" cy="36512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C58D0B-C916-49F0-A337-CBFCA75E3779}" type="datetime3">
              <a:rPr lang="zh-CN" altLang="en-US" sz="180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+mn-ea"/>
                <a:cs typeface="Arial" panose="020B0604020202020204" pitchFamily="34" charset="0"/>
              </a:rPr>
              <a:pPr algn="ctr"/>
              <a:t>2021年12月4日星期六</a:t>
            </a:fld>
            <a:endParaRPr lang="en-US" sz="1800" dirty="0">
              <a:solidFill>
                <a:schemeClr val="accent5">
                  <a:lumMod val="40000"/>
                  <a:lumOff val="60000"/>
                </a:schemeClr>
              </a:solidFill>
              <a:latin typeface="+mn-ea"/>
              <a:cs typeface="Arial" panose="020B0604020202020204" pitchFamily="34" charset="0"/>
            </a:endParaRPr>
          </a:p>
        </p:txBody>
      </p:sp>
      <p:pic>
        <p:nvPicPr>
          <p:cNvPr id="28" name="Picture 3">
            <a:extLst>
              <a:ext uri="{FF2B5EF4-FFF2-40B4-BE49-F238E27FC236}">
                <a16:creationId xmlns:a16="http://schemas.microsoft.com/office/drawing/2014/main" id="{BD2E885B-5496-440A-8936-512069EFF6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948"/>
          <a:stretch/>
        </p:blipFill>
        <p:spPr>
          <a:xfrm>
            <a:off x="5311220" y="1099214"/>
            <a:ext cx="1704262" cy="767228"/>
          </a:xfrm>
          <a:prstGeom prst="rect">
            <a:avLst/>
          </a:prstGeom>
        </p:spPr>
      </p:pic>
      <p:cxnSp>
        <p:nvCxnSpPr>
          <p:cNvPr id="29" name="Straight Connector 11">
            <a:extLst>
              <a:ext uri="{FF2B5EF4-FFF2-40B4-BE49-F238E27FC236}">
                <a16:creationId xmlns:a16="http://schemas.microsoft.com/office/drawing/2014/main" id="{8BAA26AD-C70D-4015-9756-F2C77DE2CE03}"/>
              </a:ext>
            </a:extLst>
          </p:cNvPr>
          <p:cNvCxnSpPr/>
          <p:nvPr userDrawn="1"/>
        </p:nvCxnSpPr>
        <p:spPr>
          <a:xfrm>
            <a:off x="3650821" y="1993636"/>
            <a:ext cx="4873640" cy="0"/>
          </a:xfrm>
          <a:prstGeom prst="line">
            <a:avLst/>
          </a:prstGeom>
          <a:ln w="19050">
            <a:gradFill>
              <a:gsLst>
                <a:gs pos="48213">
                  <a:srgbClr val="F1F6FC"/>
                </a:gs>
                <a:gs pos="99000">
                  <a:srgbClr val="EAF2FA">
                    <a:alpha val="0"/>
                  </a:srgbClr>
                </a:gs>
                <a:gs pos="0">
                  <a:schemeClr val="accent1">
                    <a:lumMod val="5000"/>
                    <a:lumOff val="95000"/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75FDF084-6652-4F89-98C4-31436AD7F9D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76374" y="2188786"/>
            <a:ext cx="9144000" cy="365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+mn-ea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敬请各位老师同学批评指正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26EABAF-8F63-44CA-A5B3-51EA1A09154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933624" y="3661695"/>
            <a:ext cx="4229499" cy="36512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2400" dirty="0">
                <a:solidFill>
                  <a:schemeClr val="bg1"/>
                </a:solidFill>
                <a:latin typeface="+mj-ea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zh-CN" altLang="en-US" sz="1600" dirty="0">
                <a:solidFill>
                  <a:schemeClr val="bg1"/>
                </a:solidFill>
                <a:latin typeface="+mj-ea"/>
                <a:ea typeface="+mj-ea"/>
              </a:rPr>
              <a:t>汇报人：张    三</a:t>
            </a:r>
            <a:endParaRPr lang="en-US" altLang="zh-CN" sz="16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2F71994-DE50-46FD-A091-8C359FCA5F8B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3933624" y="4105568"/>
            <a:ext cx="4229499" cy="36512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altLang="zh-CN" sz="2400" dirty="0">
                <a:solidFill>
                  <a:schemeClr val="bg1"/>
                </a:solidFill>
                <a:latin typeface="+mj-ea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zh-CN" altLang="en-US" sz="1600" dirty="0">
                <a:solidFill>
                  <a:schemeClr val="bg1"/>
                </a:solidFill>
                <a:latin typeface="+mj-ea"/>
                <a:ea typeface="+mj-ea"/>
              </a:rPr>
              <a:t>指导老师：李    四</a:t>
            </a:r>
            <a:endParaRPr lang="en-US" altLang="zh-CN" sz="1600" dirty="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821517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30900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BBF26-BEDC-46E4-9327-AA2BBBECF6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50EB9B-57D7-40AA-9D4B-FF122A03C2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651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D5A74D-B662-4C64-972D-FDBFB56C1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271DC-5D2D-4F77-AB7E-B69A36ED0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A01CD-EE3E-46EF-91C4-8F6D66520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82356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BF69AD-F3D5-4C80-A4D4-3EB530AE5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FB423E-739A-4A00-9DAD-6ACF4203BE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A65055-5556-4757-8267-3927EAB62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C4BD26-3358-4374-85DB-23B16ADC5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5897D-8692-40FE-8259-D6C723B50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8604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22B70E-C8A3-4CE5-95F5-2C13F5C5B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22DE14-C5AA-4F2B-9942-377E8BFFD1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052160-6BA7-4901-994B-CB0A1EC131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81E806-BA6D-4140-B5BA-5B75D593B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D57F18-C7FA-4DD1-BE05-B555450AE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8890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730504-EB9E-420E-8131-E7B053DEF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46D061-D38F-49F5-A4A5-CF7EE09D1D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8DC848-5896-4137-9850-C131E83CC0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9A2474-5744-4710-8899-2C09FEAD6E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DA8C92-7975-43DF-B4F9-211C86CF1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2D1043-3B40-45CC-91D7-7B28544AC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5269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B4D2C-311A-4D54-BF3F-167D91F48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920415-9CEF-470C-9B8D-622387C998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3BB8B9-62FF-430A-AEB6-7137B3FA69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982736A-F515-41AD-B407-93F7458CC00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6BC62A9-B147-4448-9129-1B54F1D6D7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AADBF9-08D6-4A10-AC48-1E84C6AA63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772E97F-FD2D-4718-924F-601E698FE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EF28B39-515F-4569-B7C3-D0EA26E86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46242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A30608E5-34B4-4480-A4E3-ACBC53534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algn="ctr"/>
            <a:r>
              <a:rPr lang="zh-CN" altLang="en-US" dirty="0"/>
              <a:t>单击此处编辑母版标题样式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25E1BC6-62B1-4935-AB17-AEA87A04DE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2539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4" r:id="rId2"/>
    <p:sldLayoutId id="2147483698" r:id="rId3"/>
    <p:sldLayoutId id="2147483697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zh-CN" altLang="en-US" sz="4800" kern="1200" dirty="0">
          <a:solidFill>
            <a:srgbClr val="002060"/>
          </a:solidFill>
          <a:latin typeface="+mj-ea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rgbClr val="002060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rgbClr val="00206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206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206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206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9E9409-6276-4346-AE49-88EC41023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63D42E-2E06-4A34-AB0B-3FD1ACD620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4ED5FA-B568-4864-B10C-B1AF72D542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6C75A1-356A-44A4-B1CF-DC2332795345}" type="datetimeFigureOut">
              <a:rPr lang="zh-CN" altLang="en-US" smtClean="0"/>
              <a:t>2021/12/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F8D2ED-DF59-4521-A7C4-9B51E5354C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827DA9-75CC-48A7-8F91-5883757C13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C24C69-6DC3-4368-90FA-70645DD0D0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71871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05B35991-3B3C-4595-B62C-539FB615FC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83E12FC-B727-46EE-A3F4-36BAB21DAD93}" type="slidenum">
              <a:rPr lang="zh-CN" altLang="en-US" smtClean="0"/>
              <a:pPr/>
              <a:t>1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BE1E9E5F-87AD-4F36-AFB8-E7867A31DE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5" name="副标题 4">
            <a:extLst>
              <a:ext uri="{FF2B5EF4-FFF2-40B4-BE49-F238E27FC236}">
                <a16:creationId xmlns:a16="http://schemas.microsoft.com/office/drawing/2014/main" id="{8407DCA8-F6D1-45C6-AE35-B797FDBB2B8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工作内容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C412BA1A-81AC-41CC-89B6-55A5062C7742}"/>
              </a:ext>
            </a:extLst>
          </p:cNvPr>
          <p:cNvSpPr/>
          <p:nvPr/>
        </p:nvSpPr>
        <p:spPr>
          <a:xfrm>
            <a:off x="3503977" y="2304948"/>
            <a:ext cx="4058730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zh-CN" altLang="en-US" sz="2400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基于深度学习的轨迹生成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5D1BC79-EE2F-42B0-8FA8-656FCFB44261}"/>
              </a:ext>
            </a:extLst>
          </p:cNvPr>
          <p:cNvSpPr/>
          <p:nvPr/>
        </p:nvSpPr>
        <p:spPr>
          <a:xfrm>
            <a:off x="3503977" y="3791134"/>
            <a:ext cx="4058730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zh-CN" altLang="en-US" sz="2400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解析模型的轨迹选择</a:t>
            </a:r>
          </a:p>
        </p:txBody>
      </p:sp>
      <p:cxnSp>
        <p:nvCxnSpPr>
          <p:cNvPr id="6" name="直接箭头连接符 5">
            <a:extLst>
              <a:ext uri="{FF2B5EF4-FFF2-40B4-BE49-F238E27FC236}">
                <a16:creationId xmlns:a16="http://schemas.microsoft.com/office/drawing/2014/main" id="{F5C5A801-962A-4598-BD5B-F9107A88EFE6}"/>
              </a:ext>
            </a:extLst>
          </p:cNvPr>
          <p:cNvCxnSpPr>
            <a:stCxn id="22" idx="2"/>
            <a:endCxn id="23" idx="0"/>
          </p:cNvCxnSpPr>
          <p:nvPr/>
        </p:nvCxnSpPr>
        <p:spPr>
          <a:xfrm>
            <a:off x="5533342" y="2766613"/>
            <a:ext cx="0" cy="1024521"/>
          </a:xfrm>
          <a:prstGeom prst="straightConnector1">
            <a:avLst/>
          </a:prstGeom>
          <a:ln w="12700">
            <a:solidFill>
              <a:srgbClr val="00206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3592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05B35991-3B3C-4595-B62C-539FB615FC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83E12FC-B727-46EE-A3F4-36BAB21DAD93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BE1E9E5F-87AD-4F36-AFB8-E7867A31DE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5" name="副标题 4">
            <a:extLst>
              <a:ext uri="{FF2B5EF4-FFF2-40B4-BE49-F238E27FC236}">
                <a16:creationId xmlns:a16="http://schemas.microsoft.com/office/drawing/2014/main" id="{8407DCA8-F6D1-45C6-AE35-B797FDBB2B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7939" y="157573"/>
            <a:ext cx="8773690" cy="485627"/>
          </a:xfrm>
        </p:spPr>
        <p:txBody>
          <a:bodyPr/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工作计划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746EAC91-6E03-4FC9-91ED-932935C378D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9598" y="1182958"/>
          <a:ext cx="11832803" cy="53035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325793">
                  <a:extLst>
                    <a:ext uri="{9D8B030D-6E8A-4147-A177-3AD203B41FA5}">
                      <a16:colId xmlns:a16="http://schemas.microsoft.com/office/drawing/2014/main" val="2060347321"/>
                    </a:ext>
                  </a:extLst>
                </a:gridCol>
                <a:gridCol w="2775446">
                  <a:extLst>
                    <a:ext uri="{9D8B030D-6E8A-4147-A177-3AD203B41FA5}">
                      <a16:colId xmlns:a16="http://schemas.microsoft.com/office/drawing/2014/main" val="4242000219"/>
                    </a:ext>
                  </a:extLst>
                </a:gridCol>
                <a:gridCol w="4227135">
                  <a:extLst>
                    <a:ext uri="{9D8B030D-6E8A-4147-A177-3AD203B41FA5}">
                      <a16:colId xmlns:a16="http://schemas.microsoft.com/office/drawing/2014/main" val="2244724501"/>
                    </a:ext>
                  </a:extLst>
                </a:gridCol>
                <a:gridCol w="2504429">
                  <a:extLst>
                    <a:ext uri="{9D8B030D-6E8A-4147-A177-3AD203B41FA5}">
                      <a16:colId xmlns:a16="http://schemas.microsoft.com/office/drawing/2014/main" val="1436908667"/>
                    </a:ext>
                  </a:extLst>
                </a:gridCol>
              </a:tblGrid>
              <a:tr h="32592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+mn-ea"/>
                          <a:ea typeface="+mn-ea"/>
                        </a:rPr>
                        <a:t>阶段性任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+mn-ea"/>
                          <a:ea typeface="+mn-ea"/>
                        </a:rPr>
                        <a:t>分解任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+mn-ea"/>
                          <a:ea typeface="+mn-ea"/>
                        </a:rPr>
                        <a:t>研究内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+mn-ea"/>
                          <a:ea typeface="+mn-ea"/>
                        </a:rPr>
                        <a:t>主要成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7126342"/>
                  </a:ext>
                </a:extLst>
              </a:tr>
              <a:tr h="562966">
                <a:tc rowSpan="3"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基于深度学习的轨迹生成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研究现状整理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①非机动车行为建模相关</a:t>
                      </a:r>
                      <a:endParaRPr lang="en-US" altLang="zh-CN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②深度学习基本原理及应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PPT</a:t>
                      </a:r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展示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5548518"/>
                  </a:ext>
                </a:extLst>
              </a:tr>
              <a:tr h="562966">
                <a:tc vMerge="1">
                  <a:txBody>
                    <a:bodyPr/>
                    <a:lstStyle/>
                    <a:p>
                      <a:pPr algn="ctr"/>
                      <a:endParaRPr lang="zh-CN" altLang="en-US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数据预处理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①数据清洗相关</a:t>
                      </a:r>
                      <a:endParaRPr lang="en-US" altLang="zh-CN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②特征参数提取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9568751"/>
                  </a:ext>
                </a:extLst>
              </a:tr>
              <a:tr h="562966">
                <a:tc vMerge="1">
                  <a:txBody>
                    <a:bodyPr/>
                    <a:lstStyle/>
                    <a:p>
                      <a:pPr algn="ctr"/>
                      <a:endParaRPr lang="zh-CN" altLang="en-US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模型训练及测试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①构建深度训练和预测模型</a:t>
                      </a:r>
                      <a:endParaRPr lang="en-US" altLang="zh-CN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②调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PPT</a:t>
                      </a:r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展示</a:t>
                      </a:r>
                      <a:endParaRPr lang="en-US" altLang="zh-CN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训练模型及轨迹生成结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630541"/>
                  </a:ext>
                </a:extLst>
              </a:tr>
              <a:tr h="562966">
                <a:tc rowSpan="3"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行为机理解析模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行为特征分析（左转场景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①提取并分析研究对象的运动学参数分布及特征（考虑异质性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PPT</a:t>
                      </a:r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展示</a:t>
                      </a:r>
                      <a:endParaRPr lang="en-US" altLang="zh-CN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行为分析结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396018"/>
                  </a:ext>
                </a:extLst>
              </a:tr>
              <a:tr h="562966">
                <a:tc vMerge="1">
                  <a:txBody>
                    <a:bodyPr/>
                    <a:lstStyle/>
                    <a:p>
                      <a:pPr algn="ctr"/>
                      <a:endParaRPr lang="zh-CN" altLang="en-US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构建行为机理解析模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①根据参考文献和行为分析结果完善行为机理解析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8178319"/>
                  </a:ext>
                </a:extLst>
              </a:tr>
              <a:tr h="562966">
                <a:tc vMerge="1">
                  <a:txBody>
                    <a:bodyPr/>
                    <a:lstStyle/>
                    <a:p>
                      <a:pPr algn="ctr"/>
                      <a:endParaRPr lang="zh-CN" altLang="en-US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标定模型参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②确定行为机理解析模型的参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PPT</a:t>
                      </a:r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展示</a:t>
                      </a:r>
                      <a:endParaRPr lang="en-US" altLang="zh-CN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行为机理测试结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5503739"/>
                  </a:ext>
                </a:extLst>
              </a:tr>
              <a:tr h="325928">
                <a:tc rowSpan="2"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行为建模</a:t>
                      </a:r>
                    </a:p>
                  </a:txBody>
                  <a:tcPr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搭建行为建模框架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①仿真建模模型框架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7567977"/>
                  </a:ext>
                </a:extLst>
              </a:tr>
              <a:tr h="562966">
                <a:tc vMerge="1">
                  <a:txBody>
                    <a:bodyPr/>
                    <a:lstStyle/>
                    <a:p>
                      <a:pPr algn="l"/>
                      <a:endParaRPr lang="zh-CN" altLang="en-US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模型调试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①包括深度学习模型参数和行为机理参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PPT</a:t>
                      </a:r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展示</a:t>
                      </a:r>
                      <a:endParaRPr lang="en-US" altLang="zh-CN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行为建模结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6861922"/>
                  </a:ext>
                </a:extLst>
              </a:tr>
              <a:tr h="562966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仿真建模结果分析</a:t>
                      </a:r>
                    </a:p>
                  </a:txBody>
                  <a:tcP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宏观</a:t>
                      </a:r>
                      <a:r>
                        <a:rPr lang="en-US" altLang="zh-CN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迭代仿真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①短时：</a:t>
                      </a:r>
                      <a:r>
                        <a:rPr lang="en-US" altLang="zh-CN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2s</a:t>
                      </a:r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左右</a:t>
                      </a:r>
                      <a:endParaRPr lang="en-US" altLang="zh-CN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②迭代：整个左转行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PPT</a:t>
                      </a:r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展示</a:t>
                      </a:r>
                      <a:endParaRPr lang="en-US" altLang="zh-CN" sz="1600" dirty="0">
                        <a:solidFill>
                          <a:srgbClr val="002060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CN" altLang="en-US" sz="1600" dirty="0">
                          <a:solidFill>
                            <a:srgbClr val="002060"/>
                          </a:solidFill>
                          <a:latin typeface="+mn-ea"/>
                          <a:ea typeface="+mn-ea"/>
                        </a:rPr>
                        <a:t>仿真特征结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99296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973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05B35991-3B3C-4595-B62C-539FB615FC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83E12FC-B727-46EE-A3F4-36BAB21DAD93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BE1E9E5F-87AD-4F36-AFB8-E7867A31DE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3</a:t>
            </a:r>
            <a:endParaRPr lang="zh-CN" altLang="en-US" dirty="0"/>
          </a:p>
        </p:txBody>
      </p:sp>
      <p:sp>
        <p:nvSpPr>
          <p:cNvPr id="5" name="副标题 4">
            <a:extLst>
              <a:ext uri="{FF2B5EF4-FFF2-40B4-BE49-F238E27FC236}">
                <a16:creationId xmlns:a16="http://schemas.microsoft.com/office/drawing/2014/main" id="{8407DCA8-F6D1-45C6-AE35-B797FDBB2B8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目录结构</a:t>
            </a:r>
          </a:p>
        </p:txBody>
      </p:sp>
      <p:sp>
        <p:nvSpPr>
          <p:cNvPr id="28" name="圆角矩形 15">
            <a:extLst>
              <a:ext uri="{FF2B5EF4-FFF2-40B4-BE49-F238E27FC236}">
                <a16:creationId xmlns:a16="http://schemas.microsoft.com/office/drawing/2014/main" id="{2772557F-93E7-4C41-9A2E-70B019A225B9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283980" y="2963211"/>
            <a:ext cx="1012334" cy="354925"/>
          </a:xfrm>
          <a:prstGeom prst="roundRect">
            <a:avLst>
              <a:gd name="adj" fmla="val 8451"/>
            </a:avLst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zh-CN" sz="1600" dirty="0" err="1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New_try</a:t>
            </a:r>
            <a:endParaRPr lang="en-US" altLang="zh-CN" sz="1600" dirty="0">
              <a:solidFill>
                <a:srgbClr val="00206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7" name="左大括号 16">
            <a:extLst>
              <a:ext uri="{FF2B5EF4-FFF2-40B4-BE49-F238E27FC236}">
                <a16:creationId xmlns:a16="http://schemas.microsoft.com/office/drawing/2014/main" id="{E7D41C0C-1470-4F78-B837-1FF18E4622B5}"/>
              </a:ext>
            </a:extLst>
          </p:cNvPr>
          <p:cNvSpPr/>
          <p:nvPr/>
        </p:nvSpPr>
        <p:spPr>
          <a:xfrm>
            <a:off x="2248187" y="2055680"/>
            <a:ext cx="687519" cy="2282563"/>
          </a:xfrm>
          <a:prstGeom prst="leftBrace">
            <a:avLst/>
          </a:prstGeom>
          <a:ln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圆角矩形 15">
            <a:extLst>
              <a:ext uri="{FF2B5EF4-FFF2-40B4-BE49-F238E27FC236}">
                <a16:creationId xmlns:a16="http://schemas.microsoft.com/office/drawing/2014/main" id="{FB827429-74BB-41BF-9F02-933CD98255E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079550" y="1819590"/>
            <a:ext cx="1602453" cy="354925"/>
          </a:xfrm>
          <a:prstGeom prst="roundRect">
            <a:avLst>
              <a:gd name="adj" fmla="val 8451"/>
            </a:avLst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zh-CN" sz="1600" dirty="0" err="1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Data_processing</a:t>
            </a:r>
            <a:endParaRPr lang="en-US" altLang="zh-CN" sz="1600" dirty="0">
              <a:solidFill>
                <a:srgbClr val="00206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BE95C25E-D607-4764-827E-BCE6E59C4170}"/>
              </a:ext>
            </a:extLst>
          </p:cNvPr>
          <p:cNvSpPr/>
          <p:nvPr/>
        </p:nvSpPr>
        <p:spPr>
          <a:xfrm>
            <a:off x="2935706" y="2899745"/>
            <a:ext cx="398057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trajectory_generation_deeplearing_precessing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14E05150-9642-4049-8668-56491A116B7B}"/>
              </a:ext>
            </a:extLst>
          </p:cNvPr>
          <p:cNvSpPr/>
          <p:nvPr/>
        </p:nvSpPr>
        <p:spPr>
          <a:xfrm>
            <a:off x="2935706" y="4156445"/>
            <a:ext cx="398057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zh-CN" sz="1600" dirty="0" err="1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trajectory_generation_deeplearingModel</a:t>
            </a:r>
            <a:endParaRPr lang="zh-CN" altLang="en-US" sz="1600" dirty="0">
              <a:solidFill>
                <a:srgbClr val="00206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F48468ED-E705-4078-BCC8-3389560F82BE}"/>
              </a:ext>
            </a:extLst>
          </p:cNvPr>
          <p:cNvSpPr/>
          <p:nvPr/>
        </p:nvSpPr>
        <p:spPr>
          <a:xfrm>
            <a:off x="5027288" y="1543082"/>
            <a:ext cx="62686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data_test</a:t>
            </a:r>
            <a:r>
              <a:rPr lang="en-US" altLang="zh-CN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: </a:t>
            </a:r>
            <a:r>
              <a:rPr lang="zh-CN" altLang="en-US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存放双层模型调用深度学习的输入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2CFF6D52-0732-4078-9B95-D58CA334D757}"/>
              </a:ext>
            </a:extLst>
          </p:cNvPr>
          <p:cNvSpPr/>
          <p:nvPr/>
        </p:nvSpPr>
        <p:spPr>
          <a:xfrm>
            <a:off x="5027289" y="1965177"/>
            <a:ext cx="506548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result_test：存放双层模型调用深度学习的输出</a:t>
            </a:r>
          </a:p>
        </p:txBody>
      </p:sp>
      <p:sp>
        <p:nvSpPr>
          <p:cNvPr id="39" name="左大括号 38">
            <a:extLst>
              <a:ext uri="{FF2B5EF4-FFF2-40B4-BE49-F238E27FC236}">
                <a16:creationId xmlns:a16="http://schemas.microsoft.com/office/drawing/2014/main" id="{AD366FF7-EBDB-4A8B-89DC-1B92321E0F67}"/>
              </a:ext>
            </a:extLst>
          </p:cNvPr>
          <p:cNvSpPr/>
          <p:nvPr/>
        </p:nvSpPr>
        <p:spPr>
          <a:xfrm>
            <a:off x="4645193" y="1747199"/>
            <a:ext cx="404644" cy="485627"/>
          </a:xfrm>
          <a:prstGeom prst="leftBrace">
            <a:avLst/>
          </a:prstGeom>
          <a:ln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EF70672E-2B81-4A2C-86E0-5FB3475629BE}"/>
              </a:ext>
            </a:extLst>
          </p:cNvPr>
          <p:cNvSpPr/>
          <p:nvPr/>
        </p:nvSpPr>
        <p:spPr>
          <a:xfrm>
            <a:off x="6861282" y="3765004"/>
            <a:ext cx="49640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data_test</a:t>
            </a:r>
            <a:r>
              <a:rPr lang="en-US" altLang="zh-CN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:</a:t>
            </a:r>
            <a:r>
              <a:rPr lang="zh-CN" altLang="en-US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存放深度学习模型的输入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781FFC70-D68E-44B4-B81E-45FDC0C816A3}"/>
              </a:ext>
            </a:extLst>
          </p:cNvPr>
          <p:cNvSpPr/>
          <p:nvPr/>
        </p:nvSpPr>
        <p:spPr>
          <a:xfrm>
            <a:off x="6861282" y="4187099"/>
            <a:ext cx="36990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zh-CN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odel</a:t>
            </a:r>
            <a:r>
              <a:rPr lang="zh-CN" altLang="en-US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：存放训练好的深度学习模型</a:t>
            </a:r>
          </a:p>
        </p:txBody>
      </p:sp>
      <p:sp>
        <p:nvSpPr>
          <p:cNvPr id="43" name="左大括号 42">
            <a:extLst>
              <a:ext uri="{FF2B5EF4-FFF2-40B4-BE49-F238E27FC236}">
                <a16:creationId xmlns:a16="http://schemas.microsoft.com/office/drawing/2014/main" id="{B52CE0BC-FAC3-4FA1-B7F6-E6661F0F4CC5}"/>
              </a:ext>
            </a:extLst>
          </p:cNvPr>
          <p:cNvSpPr/>
          <p:nvPr/>
        </p:nvSpPr>
        <p:spPr>
          <a:xfrm>
            <a:off x="6479186" y="3969121"/>
            <a:ext cx="404644" cy="843509"/>
          </a:xfrm>
          <a:prstGeom prst="leftBrace">
            <a:avLst/>
          </a:prstGeom>
          <a:ln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FE1F2F0F-4E85-4A54-AF66-A8CAE633C887}"/>
              </a:ext>
            </a:extLst>
          </p:cNvPr>
          <p:cNvSpPr/>
          <p:nvPr/>
        </p:nvSpPr>
        <p:spPr>
          <a:xfrm>
            <a:off x="6861281" y="4658865"/>
            <a:ext cx="402901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result_test：存放深度学习模型的输出</a:t>
            </a:r>
          </a:p>
        </p:txBody>
      </p:sp>
      <p:sp>
        <p:nvSpPr>
          <p:cNvPr id="45" name="左大括号 44">
            <a:extLst>
              <a:ext uri="{FF2B5EF4-FFF2-40B4-BE49-F238E27FC236}">
                <a16:creationId xmlns:a16="http://schemas.microsoft.com/office/drawing/2014/main" id="{6F3454BB-3C88-43DF-9B9C-A6C8F0AD7F03}"/>
              </a:ext>
            </a:extLst>
          </p:cNvPr>
          <p:cNvSpPr/>
          <p:nvPr/>
        </p:nvSpPr>
        <p:spPr>
          <a:xfrm>
            <a:off x="6883830" y="2738733"/>
            <a:ext cx="426575" cy="672217"/>
          </a:xfrm>
          <a:prstGeom prst="leftBrace">
            <a:avLst/>
          </a:prstGeom>
          <a:ln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A57C02FB-2965-4195-9217-4AA82131327B}"/>
              </a:ext>
            </a:extLst>
          </p:cNvPr>
          <p:cNvSpPr/>
          <p:nvPr/>
        </p:nvSpPr>
        <p:spPr>
          <a:xfrm>
            <a:off x="7310405" y="2569456"/>
            <a:ext cx="36182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存放数据处理和计算误差的</a:t>
            </a:r>
            <a:r>
              <a:rPr lang="en-US" altLang="zh-CN" sz="1600" dirty="0" err="1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tlab</a:t>
            </a:r>
            <a:r>
              <a:rPr lang="zh-CN" altLang="en-US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函数</a:t>
            </a:r>
            <a:endParaRPr lang="zh-CN" altLang="en-US" sz="1600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F8C941B7-291D-4467-9919-307571955960}"/>
              </a:ext>
            </a:extLst>
          </p:cNvPr>
          <p:cNvSpPr/>
          <p:nvPr/>
        </p:nvSpPr>
        <p:spPr>
          <a:xfrm>
            <a:off x="7364593" y="3113174"/>
            <a:ext cx="28520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其他深度学习所需的特征矩阵</a:t>
            </a:r>
            <a:endParaRPr lang="zh-CN" altLang="en-US" sz="1600" dirty="0"/>
          </a:p>
        </p:txBody>
      </p: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0CFC5994-D4D4-481A-A7D7-A136A39669A1}"/>
              </a:ext>
            </a:extLst>
          </p:cNvPr>
          <p:cNvSpPr/>
          <p:nvPr/>
        </p:nvSpPr>
        <p:spPr>
          <a:xfrm>
            <a:off x="2935706" y="2481943"/>
            <a:ext cx="8291476" cy="2765309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7A9C2E06-C777-4CAA-9A97-DC4AC87371EE}"/>
              </a:ext>
            </a:extLst>
          </p:cNvPr>
          <p:cNvSpPr/>
          <p:nvPr/>
        </p:nvSpPr>
        <p:spPr>
          <a:xfrm>
            <a:off x="3242720" y="4828142"/>
            <a:ext cx="19067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600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轨迹生成阶段使用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A86493CA-A057-4780-9E7E-87156C9EEC84}"/>
              </a:ext>
            </a:extLst>
          </p:cNvPr>
          <p:cNvSpPr/>
          <p:nvPr/>
        </p:nvSpPr>
        <p:spPr>
          <a:xfrm>
            <a:off x="4145521" y="3140673"/>
            <a:ext cx="17277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en-US" altLang="zh-CN" sz="1600" dirty="0" err="1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Matlab</a:t>
            </a: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部分）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5444D40C-5667-45C9-874B-2D45681A0501}"/>
              </a:ext>
            </a:extLst>
          </p:cNvPr>
          <p:cNvSpPr/>
          <p:nvPr/>
        </p:nvSpPr>
        <p:spPr>
          <a:xfrm>
            <a:off x="4145521" y="4391999"/>
            <a:ext cx="204886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en-US" altLang="zh-CN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Python</a:t>
            </a: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的</a:t>
            </a:r>
            <a:r>
              <a:rPr lang="en-US" altLang="zh-CN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project</a:t>
            </a:r>
            <a:r>
              <a:rPr lang="zh-CN" altLang="en-US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15725923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05B35991-3B3C-4595-B62C-539FB615FC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83E12FC-B727-46EE-A3F4-36BAB21DAD93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BE1E9E5F-87AD-4F36-AFB8-E7867A31DE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5" name="副标题 4">
            <a:extLst>
              <a:ext uri="{FF2B5EF4-FFF2-40B4-BE49-F238E27FC236}">
                <a16:creationId xmlns:a16="http://schemas.microsoft.com/office/drawing/2014/main" id="{8407DCA8-F6D1-45C6-AE35-B797FDBB2B8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方法</a:t>
            </a:r>
          </a:p>
        </p:txBody>
      </p:sp>
      <p:sp>
        <p:nvSpPr>
          <p:cNvPr id="55" name="内容占位符 2">
            <a:extLst>
              <a:ext uri="{FF2B5EF4-FFF2-40B4-BE49-F238E27FC236}">
                <a16:creationId xmlns:a16="http://schemas.microsoft.com/office/drawing/2014/main" id="{855AE5FE-17C6-4278-B3F4-0DA51D5DBD3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0126" y="867395"/>
            <a:ext cx="8168848" cy="402605"/>
          </a:xfrm>
        </p:spPr>
        <p:txBody>
          <a:bodyPr>
            <a:normAutofit lnSpcReduction="10000"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于深度学习的轨迹生成方法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训练方法</a:t>
            </a:r>
            <a:endParaRPr lang="zh-CN" altLang="en-US" dirty="0"/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8B1EFA69-6F0B-466D-9B20-5D78222272AC}"/>
              </a:ext>
            </a:extLst>
          </p:cNvPr>
          <p:cNvGrpSpPr/>
          <p:nvPr/>
        </p:nvGrpSpPr>
        <p:grpSpPr>
          <a:xfrm>
            <a:off x="290049" y="2601823"/>
            <a:ext cx="4254790" cy="3473491"/>
            <a:chOff x="290049" y="2601823"/>
            <a:chExt cx="4254790" cy="3473491"/>
          </a:xfrm>
        </p:grpSpPr>
        <p:sp>
          <p:nvSpPr>
            <p:cNvPr id="83" name="文本占位符 5">
              <a:extLst>
                <a:ext uri="{FF2B5EF4-FFF2-40B4-BE49-F238E27FC236}">
                  <a16:creationId xmlns:a16="http://schemas.microsoft.com/office/drawing/2014/main" id="{CCF2B9B5-15A3-4879-A97F-273F6AABA4CA}"/>
                </a:ext>
              </a:extLst>
            </p:cNvPr>
            <p:cNvSpPr txBox="1">
              <a:spLocks/>
            </p:cNvSpPr>
            <p:nvPr/>
          </p:nvSpPr>
          <p:spPr>
            <a:xfrm>
              <a:off x="308559" y="2980393"/>
              <a:ext cx="527687" cy="707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dirty="0"/>
                <a:t>输入</a:t>
              </a:r>
              <a:endParaRPr lang="en-US" altLang="zh-CN" dirty="0">
                <a:effectLst/>
              </a:endParaRPr>
            </a:p>
          </p:txBody>
        </p:sp>
        <p:sp>
          <p:nvSpPr>
            <p:cNvPr id="84" name="文本占位符 5">
              <a:extLst>
                <a:ext uri="{FF2B5EF4-FFF2-40B4-BE49-F238E27FC236}">
                  <a16:creationId xmlns:a16="http://schemas.microsoft.com/office/drawing/2014/main" id="{E2626332-AA93-4E01-AA2B-7BD44BD340E8}"/>
                </a:ext>
              </a:extLst>
            </p:cNvPr>
            <p:cNvSpPr txBox="1">
              <a:spLocks/>
            </p:cNvSpPr>
            <p:nvPr/>
          </p:nvSpPr>
          <p:spPr>
            <a:xfrm>
              <a:off x="290049" y="4644759"/>
              <a:ext cx="527687" cy="132343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dirty="0"/>
                <a:t>目标输出</a:t>
              </a:r>
              <a:endParaRPr lang="en-US" altLang="zh-CN" dirty="0">
                <a:effectLst/>
              </a:endParaRPr>
            </a:p>
          </p:txBody>
        </p:sp>
        <p:grpSp>
          <p:nvGrpSpPr>
            <p:cNvPr id="3" name="组合 2"/>
            <p:cNvGrpSpPr/>
            <p:nvPr/>
          </p:nvGrpSpPr>
          <p:grpSpPr>
            <a:xfrm>
              <a:off x="1003198" y="2601823"/>
              <a:ext cx="3541641" cy="1425434"/>
              <a:chOff x="406400" y="2377074"/>
              <a:chExt cx="5370002" cy="2161310"/>
            </a:xfrm>
          </p:grpSpPr>
          <p:grpSp>
            <p:nvGrpSpPr>
              <p:cNvPr id="85" name="组合 84">
                <a:extLst>
                  <a:ext uri="{FF2B5EF4-FFF2-40B4-BE49-F238E27FC236}">
                    <a16:creationId xmlns:a16="http://schemas.microsoft.com/office/drawing/2014/main" id="{EF47E4D3-BFBA-44C7-B546-A51BABB50D37}"/>
                  </a:ext>
                </a:extLst>
              </p:cNvPr>
              <p:cNvGrpSpPr/>
              <p:nvPr/>
            </p:nvGrpSpPr>
            <p:grpSpPr>
              <a:xfrm>
                <a:off x="406400" y="2377074"/>
                <a:ext cx="5333570" cy="2161310"/>
                <a:chOff x="563418" y="3057236"/>
                <a:chExt cx="5333570" cy="2161310"/>
              </a:xfrm>
            </p:grpSpPr>
            <p:sp>
              <p:nvSpPr>
                <p:cNvPr id="86" name="矩形 85">
                  <a:extLst>
                    <a:ext uri="{FF2B5EF4-FFF2-40B4-BE49-F238E27FC236}">
                      <a16:creationId xmlns:a16="http://schemas.microsoft.com/office/drawing/2014/main" id="{475F2E04-BCA7-4424-9586-3FB1AA90C7BF}"/>
                    </a:ext>
                  </a:extLst>
                </p:cNvPr>
                <p:cNvSpPr/>
                <p:nvPr/>
              </p:nvSpPr>
              <p:spPr>
                <a:xfrm>
                  <a:off x="563418" y="3057236"/>
                  <a:ext cx="5333570" cy="2161310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87" name="椭圆 86">
                  <a:extLst>
                    <a:ext uri="{FF2B5EF4-FFF2-40B4-BE49-F238E27FC236}">
                      <a16:creationId xmlns:a16="http://schemas.microsoft.com/office/drawing/2014/main" id="{CC09BC7F-2E4C-4CD2-A634-E5CA7A08B830}"/>
                    </a:ext>
                  </a:extLst>
                </p:cNvPr>
                <p:cNvSpPr/>
                <p:nvPr/>
              </p:nvSpPr>
              <p:spPr>
                <a:xfrm>
                  <a:off x="4969168" y="4239492"/>
                  <a:ext cx="175490" cy="175490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90" name="椭圆 89">
                  <a:extLst>
                    <a:ext uri="{FF2B5EF4-FFF2-40B4-BE49-F238E27FC236}">
                      <a16:creationId xmlns:a16="http://schemas.microsoft.com/office/drawing/2014/main" id="{9D5EE174-57D0-4136-8B5B-26F1CECCC22F}"/>
                    </a:ext>
                  </a:extLst>
                </p:cNvPr>
                <p:cNvSpPr/>
                <p:nvPr/>
              </p:nvSpPr>
              <p:spPr>
                <a:xfrm>
                  <a:off x="909781" y="3542146"/>
                  <a:ext cx="175490" cy="175490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02" name="文本占位符 5">
                <a:extLst>
                  <a:ext uri="{FF2B5EF4-FFF2-40B4-BE49-F238E27FC236}">
                    <a16:creationId xmlns:a16="http://schemas.microsoft.com/office/drawing/2014/main" id="{E7387760-0EB7-4D89-9100-19154210AD2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86884" y="3173744"/>
                <a:ext cx="882738" cy="466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2000">
                    <a:solidFill>
                      <a:srgbClr val="002060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lvl1pPr>
                <a:lvl2pPr marL="742950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solidFill>
                      <a:schemeClr val="tx1"/>
                    </a:solidFill>
                  </a:rPr>
                  <a:t>终点</a:t>
                </a:r>
                <a:endParaRPr lang="en-US" altLang="zh-CN" sz="1400" dirty="0"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103" name="文本占位符 5">
                <a:extLst>
                  <a:ext uri="{FF2B5EF4-FFF2-40B4-BE49-F238E27FC236}">
                    <a16:creationId xmlns:a16="http://schemas.microsoft.com/office/drawing/2014/main" id="{FC23C5A9-319A-48C8-8CD2-93CC7EDC7B1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05476" y="3844181"/>
                <a:ext cx="882738" cy="466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2000">
                    <a:solidFill>
                      <a:srgbClr val="002060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lvl1pPr>
                <a:lvl2pPr marL="742950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solidFill>
                      <a:schemeClr val="tx1"/>
                    </a:solidFill>
                  </a:rPr>
                  <a:t>起点</a:t>
                </a:r>
                <a:endParaRPr lang="en-US" altLang="zh-CN" sz="1400" dirty="0">
                  <a:solidFill>
                    <a:schemeClr val="tx1"/>
                  </a:solidFill>
                  <a:effectLst/>
                </a:endParaRPr>
              </a:p>
            </p:txBody>
          </p:sp>
          <p:pic>
            <p:nvPicPr>
              <p:cNvPr id="108" name="图片 107">
                <a:extLst>
                  <a:ext uri="{FF2B5EF4-FFF2-40B4-BE49-F238E27FC236}">
                    <a16:creationId xmlns:a16="http://schemas.microsoft.com/office/drawing/2014/main" id="{F7D2BAC4-6616-4949-BD2E-FB6DB3510F3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t="26606" b="1598"/>
              <a:stretch/>
            </p:blipFill>
            <p:spPr>
              <a:xfrm rot="5591170" flipH="1" flipV="1">
                <a:off x="1432146" y="3712540"/>
                <a:ext cx="493359" cy="591899"/>
              </a:xfrm>
              <a:prstGeom prst="rect">
                <a:avLst/>
              </a:prstGeom>
            </p:spPr>
          </p:pic>
          <p:pic>
            <p:nvPicPr>
              <p:cNvPr id="110" name="图片 109">
                <a:extLst>
                  <a:ext uri="{FF2B5EF4-FFF2-40B4-BE49-F238E27FC236}">
                    <a16:creationId xmlns:a16="http://schemas.microsoft.com/office/drawing/2014/main" id="{0872815B-9C75-4295-84FA-4BCF653344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flipH="1" flipV="1">
                <a:off x="4937463" y="3387172"/>
                <a:ext cx="838939" cy="53208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6" name="组合 5"/>
            <p:cNvGrpSpPr/>
            <p:nvPr/>
          </p:nvGrpSpPr>
          <p:grpSpPr>
            <a:xfrm>
              <a:off x="1003198" y="4648263"/>
              <a:ext cx="3541641" cy="1427051"/>
              <a:chOff x="6263262" y="2377073"/>
              <a:chExt cx="5369276" cy="2161311"/>
            </a:xfrm>
          </p:grpSpPr>
          <p:sp>
            <p:nvSpPr>
              <p:cNvPr id="81" name="矩形 80">
                <a:extLst>
                  <a:ext uri="{FF2B5EF4-FFF2-40B4-BE49-F238E27FC236}">
                    <a16:creationId xmlns:a16="http://schemas.microsoft.com/office/drawing/2014/main" id="{B6632DEA-5C4E-4614-B674-2FBDC43B7280}"/>
                  </a:ext>
                </a:extLst>
              </p:cNvPr>
              <p:cNvSpPr/>
              <p:nvPr/>
            </p:nvSpPr>
            <p:spPr>
              <a:xfrm>
                <a:off x="7036500" y="2543330"/>
                <a:ext cx="3455426" cy="1766798"/>
              </a:xfrm>
              <a:prstGeom prst="rect">
                <a:avLst/>
              </a:prstGeom>
              <a:solidFill>
                <a:schemeClr val="bg1">
                  <a:lumMod val="50000"/>
                  <a:alpha val="16000"/>
                </a:schemeClr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2" name="任意多边形 13">
                <a:extLst>
                  <a:ext uri="{FF2B5EF4-FFF2-40B4-BE49-F238E27FC236}">
                    <a16:creationId xmlns:a16="http://schemas.microsoft.com/office/drawing/2014/main" id="{758D4907-9069-44C1-B8B9-AAD82CDE098A}"/>
                  </a:ext>
                </a:extLst>
              </p:cNvPr>
              <p:cNvSpPr/>
              <p:nvPr/>
            </p:nvSpPr>
            <p:spPr>
              <a:xfrm>
                <a:off x="6733310" y="2973662"/>
                <a:ext cx="4064000" cy="696503"/>
              </a:xfrm>
              <a:custGeom>
                <a:avLst/>
                <a:gdLst>
                  <a:gd name="connsiteX0" fmla="*/ 4064000 w 4064000"/>
                  <a:gd name="connsiteY0" fmla="*/ 696503 h 696503"/>
                  <a:gd name="connsiteX1" fmla="*/ 3038763 w 4064000"/>
                  <a:gd name="connsiteY1" fmla="*/ 585667 h 696503"/>
                  <a:gd name="connsiteX2" fmla="*/ 2133600 w 4064000"/>
                  <a:gd name="connsiteY2" fmla="*/ 234685 h 696503"/>
                  <a:gd name="connsiteX3" fmla="*/ 1293090 w 4064000"/>
                  <a:gd name="connsiteY3" fmla="*/ 31485 h 696503"/>
                  <a:gd name="connsiteX4" fmla="*/ 0 w 4064000"/>
                  <a:gd name="connsiteY4" fmla="*/ 3776 h 696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4000" h="696503">
                    <a:moveTo>
                      <a:pt x="4064000" y="696503"/>
                    </a:moveTo>
                    <a:cubicBezTo>
                      <a:pt x="3712248" y="679570"/>
                      <a:pt x="3360496" y="662637"/>
                      <a:pt x="3038763" y="585667"/>
                    </a:cubicBezTo>
                    <a:cubicBezTo>
                      <a:pt x="2717030" y="508697"/>
                      <a:pt x="2424545" y="327049"/>
                      <a:pt x="2133600" y="234685"/>
                    </a:cubicBezTo>
                    <a:cubicBezTo>
                      <a:pt x="1842655" y="142321"/>
                      <a:pt x="1648690" y="69970"/>
                      <a:pt x="1293090" y="31485"/>
                    </a:cubicBezTo>
                    <a:cubicBezTo>
                      <a:pt x="937490" y="-7000"/>
                      <a:pt x="468745" y="-1612"/>
                      <a:pt x="0" y="3776"/>
                    </a:cubicBezTo>
                  </a:path>
                </a:pathLst>
              </a:custGeom>
              <a:noFill/>
              <a:ln w="38100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92" name="组合 91">
                <a:extLst>
                  <a:ext uri="{FF2B5EF4-FFF2-40B4-BE49-F238E27FC236}">
                    <a16:creationId xmlns:a16="http://schemas.microsoft.com/office/drawing/2014/main" id="{28E8EAC0-6344-4D92-8FF8-04599E485BC0}"/>
                  </a:ext>
                </a:extLst>
              </p:cNvPr>
              <p:cNvGrpSpPr/>
              <p:nvPr/>
            </p:nvGrpSpPr>
            <p:grpSpPr>
              <a:xfrm>
                <a:off x="6263262" y="2377073"/>
                <a:ext cx="5333570" cy="2161311"/>
                <a:chOff x="563418" y="3057235"/>
                <a:chExt cx="5333570" cy="2161311"/>
              </a:xfrm>
            </p:grpSpPr>
            <p:sp>
              <p:nvSpPr>
                <p:cNvPr id="94" name="矩形 93">
                  <a:extLst>
                    <a:ext uri="{FF2B5EF4-FFF2-40B4-BE49-F238E27FC236}">
                      <a16:creationId xmlns:a16="http://schemas.microsoft.com/office/drawing/2014/main" id="{F0B51424-2897-4339-B0B5-ABD375B162B0}"/>
                    </a:ext>
                  </a:extLst>
                </p:cNvPr>
                <p:cNvSpPr/>
                <p:nvPr/>
              </p:nvSpPr>
              <p:spPr>
                <a:xfrm>
                  <a:off x="563418" y="3057235"/>
                  <a:ext cx="5333570" cy="2161311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95" name="椭圆 94">
                  <a:extLst>
                    <a:ext uri="{FF2B5EF4-FFF2-40B4-BE49-F238E27FC236}">
                      <a16:creationId xmlns:a16="http://schemas.microsoft.com/office/drawing/2014/main" id="{15BD65CE-9CD1-4142-9E9B-A99F2593CAEB}"/>
                    </a:ext>
                  </a:extLst>
                </p:cNvPr>
                <p:cNvSpPr/>
                <p:nvPr/>
              </p:nvSpPr>
              <p:spPr>
                <a:xfrm>
                  <a:off x="4969168" y="4239492"/>
                  <a:ext cx="175490" cy="175490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96" name="椭圆 95">
                  <a:extLst>
                    <a:ext uri="{FF2B5EF4-FFF2-40B4-BE49-F238E27FC236}">
                      <a16:creationId xmlns:a16="http://schemas.microsoft.com/office/drawing/2014/main" id="{4E3DC605-F8F8-4AA6-8558-1D8CACA78763}"/>
                    </a:ext>
                  </a:extLst>
                </p:cNvPr>
                <p:cNvSpPr/>
                <p:nvPr/>
              </p:nvSpPr>
              <p:spPr>
                <a:xfrm>
                  <a:off x="909781" y="3542146"/>
                  <a:ext cx="175490" cy="175490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97" name="椭圆 96">
                <a:extLst>
                  <a:ext uri="{FF2B5EF4-FFF2-40B4-BE49-F238E27FC236}">
                    <a16:creationId xmlns:a16="http://schemas.microsoft.com/office/drawing/2014/main" id="{A1A8D404-1DE7-4A94-ACD2-C65F07AA14A8}"/>
                  </a:ext>
                </a:extLst>
              </p:cNvPr>
              <p:cNvSpPr/>
              <p:nvPr/>
            </p:nvSpPr>
            <p:spPr>
              <a:xfrm>
                <a:off x="7308407" y="2891129"/>
                <a:ext cx="175490" cy="175490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8" name="椭圆 97">
                <a:extLst>
                  <a:ext uri="{FF2B5EF4-FFF2-40B4-BE49-F238E27FC236}">
                    <a16:creationId xmlns:a16="http://schemas.microsoft.com/office/drawing/2014/main" id="{CFB218A7-A11F-4522-A337-D4AF2E6D20D3}"/>
                  </a:ext>
                </a:extLst>
              </p:cNvPr>
              <p:cNvSpPr/>
              <p:nvPr/>
            </p:nvSpPr>
            <p:spPr>
              <a:xfrm>
                <a:off x="8007189" y="2910509"/>
                <a:ext cx="175490" cy="175490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9" name="椭圆 98">
                <a:extLst>
                  <a:ext uri="{FF2B5EF4-FFF2-40B4-BE49-F238E27FC236}">
                    <a16:creationId xmlns:a16="http://schemas.microsoft.com/office/drawing/2014/main" id="{03B1FCA6-4827-4103-9F6D-FEF11221179E}"/>
                  </a:ext>
                </a:extLst>
              </p:cNvPr>
              <p:cNvSpPr/>
              <p:nvPr/>
            </p:nvSpPr>
            <p:spPr>
              <a:xfrm>
                <a:off x="8611754" y="3085999"/>
                <a:ext cx="175490" cy="175490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0" name="椭圆 99">
                <a:extLst>
                  <a:ext uri="{FF2B5EF4-FFF2-40B4-BE49-F238E27FC236}">
                    <a16:creationId xmlns:a16="http://schemas.microsoft.com/office/drawing/2014/main" id="{E94ACC54-7110-4A83-A7D0-A0235C802CB9}"/>
                  </a:ext>
                </a:extLst>
              </p:cNvPr>
              <p:cNvSpPr/>
              <p:nvPr/>
            </p:nvSpPr>
            <p:spPr>
              <a:xfrm>
                <a:off x="9230879" y="3311393"/>
                <a:ext cx="175490" cy="175490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1" name="椭圆 100">
                <a:extLst>
                  <a:ext uri="{FF2B5EF4-FFF2-40B4-BE49-F238E27FC236}">
                    <a16:creationId xmlns:a16="http://schemas.microsoft.com/office/drawing/2014/main" id="{9658501E-26EE-401C-9482-E246DED8CEF0}"/>
                  </a:ext>
                </a:extLst>
              </p:cNvPr>
              <p:cNvSpPr/>
              <p:nvPr/>
            </p:nvSpPr>
            <p:spPr>
              <a:xfrm>
                <a:off x="9970230" y="3527003"/>
                <a:ext cx="175490" cy="175490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4" name="文本占位符 5">
                <a:extLst>
                  <a:ext uri="{FF2B5EF4-FFF2-40B4-BE49-F238E27FC236}">
                    <a16:creationId xmlns:a16="http://schemas.microsoft.com/office/drawing/2014/main" id="{5DFFF62B-8031-43CE-9FD2-FC4BBCD3BDE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491926" y="3910017"/>
                <a:ext cx="882738" cy="46613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2000">
                    <a:solidFill>
                      <a:srgbClr val="002060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lvl1pPr>
                <a:lvl2pPr marL="742950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solidFill>
                      <a:schemeClr val="tx1"/>
                    </a:solidFill>
                  </a:rPr>
                  <a:t>起点</a:t>
                </a:r>
                <a:endParaRPr lang="en-US" altLang="zh-CN" sz="1400" dirty="0"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105" name="文本占位符 5">
                <a:extLst>
                  <a:ext uri="{FF2B5EF4-FFF2-40B4-BE49-F238E27FC236}">
                    <a16:creationId xmlns:a16="http://schemas.microsoft.com/office/drawing/2014/main" id="{AB27865A-ADFB-4F41-BF1A-76D724C851E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348426" y="3133854"/>
                <a:ext cx="882738" cy="46613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2000">
                    <a:solidFill>
                      <a:srgbClr val="002060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lvl1pPr>
                <a:lvl2pPr marL="742950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solidFill>
                      <a:schemeClr val="tx1"/>
                    </a:solidFill>
                  </a:rPr>
                  <a:t>终点</a:t>
                </a:r>
                <a:endParaRPr lang="en-US" altLang="zh-CN" sz="1400" dirty="0"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106" name="文本占位符 5">
                <a:extLst>
                  <a:ext uri="{FF2B5EF4-FFF2-40B4-BE49-F238E27FC236}">
                    <a16:creationId xmlns:a16="http://schemas.microsoft.com/office/drawing/2014/main" id="{A5D03771-B159-4616-BD17-C09C3AE098F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35886" y="3982999"/>
                <a:ext cx="882738" cy="46613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2000">
                    <a:solidFill>
                      <a:srgbClr val="002060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lvl1pPr>
                <a:lvl2pPr marL="742950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solidFill>
                      <a:schemeClr val="tx1"/>
                    </a:solidFill>
                  </a:rPr>
                  <a:t>轨迹</a:t>
                </a:r>
                <a:endParaRPr lang="en-US" altLang="zh-CN" sz="1400" dirty="0"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107" name="左大括号 106">
                <a:extLst>
                  <a:ext uri="{FF2B5EF4-FFF2-40B4-BE49-F238E27FC236}">
                    <a16:creationId xmlns:a16="http://schemas.microsoft.com/office/drawing/2014/main" id="{7CC5A903-C50A-4E1F-9EEB-D1BB03609813}"/>
                  </a:ext>
                </a:extLst>
              </p:cNvPr>
              <p:cNvSpPr/>
              <p:nvPr/>
            </p:nvSpPr>
            <p:spPr>
              <a:xfrm rot="16200000">
                <a:off x="8660281" y="2225653"/>
                <a:ext cx="253928" cy="3260764"/>
              </a:xfrm>
              <a:prstGeom prst="leftBrace">
                <a:avLst>
                  <a:gd name="adj1" fmla="val 8333"/>
                  <a:gd name="adj2" fmla="val 50779"/>
                </a:avLst>
              </a:prstGeom>
              <a:ln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111" name="图片 110">
                <a:extLst>
                  <a:ext uri="{FF2B5EF4-FFF2-40B4-BE49-F238E27FC236}">
                    <a16:creationId xmlns:a16="http://schemas.microsoft.com/office/drawing/2014/main" id="{8994E927-0086-4385-BEA5-A3BC02431C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flipH="1" flipV="1">
                <a:off x="10793599" y="3399138"/>
                <a:ext cx="838939" cy="53208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7" name="右箭头 6"/>
            <p:cNvSpPr/>
            <p:nvPr/>
          </p:nvSpPr>
          <p:spPr>
            <a:xfrm rot="5400000">
              <a:off x="2553644" y="4224872"/>
              <a:ext cx="404861" cy="213869"/>
            </a:xfrm>
            <a:prstGeom prst="rightArrow">
              <a:avLst>
                <a:gd name="adj1" fmla="val 50000"/>
                <a:gd name="adj2" fmla="val 72268"/>
              </a:avLst>
            </a:prstGeom>
            <a:noFill/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右箭头 63"/>
            <p:cNvSpPr/>
            <p:nvPr/>
          </p:nvSpPr>
          <p:spPr>
            <a:xfrm rot="5400000">
              <a:off x="323598" y="4224974"/>
              <a:ext cx="404861" cy="213869"/>
            </a:xfrm>
            <a:prstGeom prst="rightArrow">
              <a:avLst>
                <a:gd name="adj1" fmla="val 50000"/>
                <a:gd name="adj2" fmla="val 72268"/>
              </a:avLst>
            </a:prstGeom>
            <a:noFill/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7A15E109-8025-4159-85AA-679BA1A50B41}"/>
              </a:ext>
            </a:extLst>
          </p:cNvPr>
          <p:cNvGrpSpPr/>
          <p:nvPr/>
        </p:nvGrpSpPr>
        <p:grpSpPr>
          <a:xfrm>
            <a:off x="182780" y="1324641"/>
            <a:ext cx="4869517" cy="829103"/>
            <a:chOff x="182780" y="1324641"/>
            <a:chExt cx="4869517" cy="829103"/>
          </a:xfrm>
        </p:grpSpPr>
        <p:sp>
          <p:nvSpPr>
            <p:cNvPr id="60" name="文本占位符 5">
              <a:extLst>
                <a:ext uri="{FF2B5EF4-FFF2-40B4-BE49-F238E27FC236}">
                  <a16:creationId xmlns:a16="http://schemas.microsoft.com/office/drawing/2014/main" id="{59589079-1579-40A6-8690-EE0B18C561D0}"/>
                </a:ext>
              </a:extLst>
            </p:cNvPr>
            <p:cNvSpPr txBox="1">
              <a:spLocks/>
            </p:cNvSpPr>
            <p:nvPr/>
          </p:nvSpPr>
          <p:spPr>
            <a:xfrm>
              <a:off x="343734" y="1789654"/>
              <a:ext cx="4708563" cy="36409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zh-CN" altLang="en-US" sz="1800" b="1" dirty="0">
                  <a:solidFill>
                    <a:srgbClr val="FF0000"/>
                  </a:solidFill>
                  <a:latin typeface="微软雅黑" panose="020B0503020204020204" pitchFamily="34" charset="-122"/>
                </a:rPr>
                <a:t>基于已知起终点实现执行轨迹生成</a:t>
              </a:r>
              <a:endPara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65" name="文本占位符 5">
              <a:extLst>
                <a:ext uri="{FF2B5EF4-FFF2-40B4-BE49-F238E27FC236}">
                  <a16:creationId xmlns:a16="http://schemas.microsoft.com/office/drawing/2014/main" id="{50865D83-645F-42DD-AA32-1BDD2415B082}"/>
                </a:ext>
              </a:extLst>
            </p:cNvPr>
            <p:cNvSpPr txBox="1">
              <a:spLocks/>
            </p:cNvSpPr>
            <p:nvPr/>
          </p:nvSpPr>
          <p:spPr>
            <a:xfrm>
              <a:off x="182780" y="1324641"/>
              <a:ext cx="779246" cy="380592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zh-CN" altLang="en-US" sz="2000" b="1" dirty="0">
                  <a:latin typeface="微软雅黑" panose="020B0503020204020204" pitchFamily="34" charset="-122"/>
                </a:rPr>
                <a:t>目标</a:t>
              </a:r>
              <a:endParaRPr lang="en-US" altLang="zh-CN" sz="2000" b="1" dirty="0">
                <a:latin typeface="微软雅黑" panose="020B0503020204020204" pitchFamily="34" charset="-122"/>
              </a:endParaRPr>
            </a:p>
          </p:txBody>
        </p:sp>
      </p:grpSp>
      <p:sp>
        <p:nvSpPr>
          <p:cNvPr id="68" name="矩形 67"/>
          <p:cNvSpPr/>
          <p:nvPr/>
        </p:nvSpPr>
        <p:spPr>
          <a:xfrm>
            <a:off x="5161469" y="1644941"/>
            <a:ext cx="6392356" cy="4670134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F94E5A9-2C50-483D-A711-FFB9F772E8D2}"/>
              </a:ext>
            </a:extLst>
          </p:cNvPr>
          <p:cNvGrpSpPr/>
          <p:nvPr/>
        </p:nvGrpSpPr>
        <p:grpSpPr>
          <a:xfrm>
            <a:off x="5310964" y="1744161"/>
            <a:ext cx="6270992" cy="1683984"/>
            <a:chOff x="5310964" y="1744161"/>
            <a:chExt cx="6270992" cy="1683984"/>
          </a:xfrm>
        </p:grpSpPr>
        <p:grpSp>
          <p:nvGrpSpPr>
            <p:cNvPr id="8" name="组合 7"/>
            <p:cNvGrpSpPr/>
            <p:nvPr/>
          </p:nvGrpSpPr>
          <p:grpSpPr>
            <a:xfrm>
              <a:off x="5414182" y="2352955"/>
              <a:ext cx="2844376" cy="802087"/>
              <a:chOff x="5875878" y="1847714"/>
              <a:chExt cx="4826182" cy="1360937"/>
            </a:xfrm>
          </p:grpSpPr>
          <p:sp>
            <p:nvSpPr>
              <p:cNvPr id="69" name="任意多边形 48">
                <a:extLst>
                  <a:ext uri="{FF2B5EF4-FFF2-40B4-BE49-F238E27FC236}">
                    <a16:creationId xmlns:a16="http://schemas.microsoft.com/office/drawing/2014/main" id="{6BDCC04E-0479-4CD5-8935-A2D91E4690AD}"/>
                  </a:ext>
                </a:extLst>
              </p:cNvPr>
              <p:cNvSpPr/>
              <p:nvPr/>
            </p:nvSpPr>
            <p:spPr>
              <a:xfrm>
                <a:off x="6495699" y="2171092"/>
                <a:ext cx="2687864" cy="696503"/>
              </a:xfrm>
              <a:custGeom>
                <a:avLst/>
                <a:gdLst>
                  <a:gd name="connsiteX0" fmla="*/ 4064000 w 4064000"/>
                  <a:gd name="connsiteY0" fmla="*/ 696503 h 696503"/>
                  <a:gd name="connsiteX1" fmla="*/ 3038763 w 4064000"/>
                  <a:gd name="connsiteY1" fmla="*/ 585667 h 696503"/>
                  <a:gd name="connsiteX2" fmla="*/ 2133600 w 4064000"/>
                  <a:gd name="connsiteY2" fmla="*/ 234685 h 696503"/>
                  <a:gd name="connsiteX3" fmla="*/ 1293090 w 4064000"/>
                  <a:gd name="connsiteY3" fmla="*/ 31485 h 696503"/>
                  <a:gd name="connsiteX4" fmla="*/ 0 w 4064000"/>
                  <a:gd name="connsiteY4" fmla="*/ 3776 h 696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4000" h="696503">
                    <a:moveTo>
                      <a:pt x="4064000" y="696503"/>
                    </a:moveTo>
                    <a:cubicBezTo>
                      <a:pt x="3712248" y="679570"/>
                      <a:pt x="3360496" y="662637"/>
                      <a:pt x="3038763" y="585667"/>
                    </a:cubicBezTo>
                    <a:cubicBezTo>
                      <a:pt x="2717030" y="508697"/>
                      <a:pt x="2424545" y="327049"/>
                      <a:pt x="2133600" y="234685"/>
                    </a:cubicBezTo>
                    <a:cubicBezTo>
                      <a:pt x="1842655" y="142321"/>
                      <a:pt x="1648690" y="69970"/>
                      <a:pt x="1293090" y="31485"/>
                    </a:cubicBezTo>
                    <a:cubicBezTo>
                      <a:pt x="937490" y="-7000"/>
                      <a:pt x="468745" y="-1612"/>
                      <a:pt x="0" y="3776"/>
                    </a:cubicBezTo>
                  </a:path>
                </a:pathLst>
              </a:custGeom>
              <a:noFill/>
              <a:ln w="38100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/>
              </a:p>
            </p:txBody>
          </p:sp>
          <p:grpSp>
            <p:nvGrpSpPr>
              <p:cNvPr id="70" name="组合 69">
                <a:extLst>
                  <a:ext uri="{FF2B5EF4-FFF2-40B4-BE49-F238E27FC236}">
                    <a16:creationId xmlns:a16="http://schemas.microsoft.com/office/drawing/2014/main" id="{CE14767E-10FB-4FE2-9B7B-C7A3C96FD990}"/>
                  </a:ext>
                </a:extLst>
              </p:cNvPr>
              <p:cNvGrpSpPr/>
              <p:nvPr/>
            </p:nvGrpSpPr>
            <p:grpSpPr>
              <a:xfrm>
                <a:off x="6423488" y="2099595"/>
                <a:ext cx="2828553" cy="855745"/>
                <a:chOff x="3327217" y="5387224"/>
                <a:chExt cx="2828553" cy="855745"/>
              </a:xfrm>
            </p:grpSpPr>
            <p:sp>
              <p:nvSpPr>
                <p:cNvPr id="71" name="椭圆 70">
                  <a:extLst>
                    <a:ext uri="{FF2B5EF4-FFF2-40B4-BE49-F238E27FC236}">
                      <a16:creationId xmlns:a16="http://schemas.microsoft.com/office/drawing/2014/main" id="{6552A83D-4B98-4C7F-96F3-25E468F647AC}"/>
                    </a:ext>
                  </a:extLst>
                </p:cNvPr>
                <p:cNvSpPr/>
                <p:nvPr/>
              </p:nvSpPr>
              <p:spPr>
                <a:xfrm>
                  <a:off x="3327217" y="5387224"/>
                  <a:ext cx="175490" cy="175490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72" name="椭圆 71">
                  <a:extLst>
                    <a:ext uri="{FF2B5EF4-FFF2-40B4-BE49-F238E27FC236}">
                      <a16:creationId xmlns:a16="http://schemas.microsoft.com/office/drawing/2014/main" id="{B6707582-62F5-489B-B08C-845FAB11C4A7}"/>
                    </a:ext>
                  </a:extLst>
                </p:cNvPr>
                <p:cNvSpPr/>
                <p:nvPr/>
              </p:nvSpPr>
              <p:spPr>
                <a:xfrm>
                  <a:off x="5980280" y="6067479"/>
                  <a:ext cx="175490" cy="175490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73" name="椭圆 72">
                <a:extLst>
                  <a:ext uri="{FF2B5EF4-FFF2-40B4-BE49-F238E27FC236}">
                    <a16:creationId xmlns:a16="http://schemas.microsoft.com/office/drawing/2014/main" id="{84084B05-07D2-4D9A-B7FB-D24C86A17C97}"/>
                  </a:ext>
                </a:extLst>
              </p:cNvPr>
              <p:cNvSpPr/>
              <p:nvPr/>
            </p:nvSpPr>
            <p:spPr>
              <a:xfrm>
                <a:off x="7814734" y="2308750"/>
                <a:ext cx="175490" cy="175490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4" name="文本占位符 5">
                <a:extLst>
                  <a:ext uri="{FF2B5EF4-FFF2-40B4-BE49-F238E27FC236}">
                    <a16:creationId xmlns:a16="http://schemas.microsoft.com/office/drawing/2014/main" id="{53B906F6-669B-4772-B0F1-6F4EE126B01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8487" y="2332944"/>
                <a:ext cx="1381541" cy="52221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2000">
                    <a:solidFill>
                      <a:srgbClr val="002060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lvl1pPr>
                <a:lvl2pPr marL="742950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solidFill>
                      <a:schemeClr val="tx1"/>
                    </a:solidFill>
                  </a:rPr>
                  <a:t>已知点</a:t>
                </a:r>
                <a:endParaRPr lang="en-US" altLang="zh-CN" sz="1400" dirty="0"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75" name="文本占位符 5">
                <a:extLst>
                  <a:ext uri="{FF2B5EF4-FFF2-40B4-BE49-F238E27FC236}">
                    <a16:creationId xmlns:a16="http://schemas.microsoft.com/office/drawing/2014/main" id="{F4E22284-11C1-4BCD-A43A-386F6995583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20519" y="2686432"/>
                <a:ext cx="1381541" cy="52221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2000">
                    <a:solidFill>
                      <a:srgbClr val="002060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lvl1pPr>
                <a:lvl2pPr marL="742950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solidFill>
                      <a:schemeClr val="tx1"/>
                    </a:solidFill>
                  </a:rPr>
                  <a:t>已知点</a:t>
                </a:r>
                <a:endParaRPr lang="en-US" altLang="zh-CN" sz="1400" dirty="0"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76" name="文本占位符 5">
                <a:extLst>
                  <a:ext uri="{FF2B5EF4-FFF2-40B4-BE49-F238E27FC236}">
                    <a16:creationId xmlns:a16="http://schemas.microsoft.com/office/drawing/2014/main" id="{BB1BF9D6-1E77-428C-A82F-A57AA55BF9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721828" y="1924407"/>
                <a:ext cx="1381541" cy="52221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2000">
                    <a:solidFill>
                      <a:srgbClr val="002060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lvl1pPr>
                <a:lvl2pPr marL="742950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solidFill>
                      <a:schemeClr val="tx1"/>
                    </a:solidFill>
                  </a:rPr>
                  <a:t>输出点</a:t>
                </a:r>
                <a:endParaRPr lang="en-US" altLang="zh-CN" sz="1400" dirty="0"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77" name="矩形 76">
                <a:extLst>
                  <a:ext uri="{FF2B5EF4-FFF2-40B4-BE49-F238E27FC236}">
                    <a16:creationId xmlns:a16="http://schemas.microsoft.com/office/drawing/2014/main" id="{30B07D99-9AF2-491E-86CA-4C793A1E5E42}"/>
                  </a:ext>
                </a:extLst>
              </p:cNvPr>
              <p:cNvSpPr/>
              <p:nvPr/>
            </p:nvSpPr>
            <p:spPr>
              <a:xfrm>
                <a:off x="5875878" y="1847714"/>
                <a:ext cx="4571475" cy="12795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43" name="组合 142"/>
            <p:cNvGrpSpPr/>
            <p:nvPr/>
          </p:nvGrpSpPr>
          <p:grpSpPr>
            <a:xfrm>
              <a:off x="8380808" y="2360657"/>
              <a:ext cx="2844376" cy="802087"/>
              <a:chOff x="5875878" y="1847714"/>
              <a:chExt cx="4826182" cy="1360937"/>
            </a:xfrm>
          </p:grpSpPr>
          <p:sp>
            <p:nvSpPr>
              <p:cNvPr id="145" name="任意多边形 48">
                <a:extLst>
                  <a:ext uri="{FF2B5EF4-FFF2-40B4-BE49-F238E27FC236}">
                    <a16:creationId xmlns:a16="http://schemas.microsoft.com/office/drawing/2014/main" id="{6BDCC04E-0479-4CD5-8935-A2D91E4690AD}"/>
                  </a:ext>
                </a:extLst>
              </p:cNvPr>
              <p:cNvSpPr/>
              <p:nvPr/>
            </p:nvSpPr>
            <p:spPr>
              <a:xfrm>
                <a:off x="6495699" y="2171092"/>
                <a:ext cx="2687864" cy="696503"/>
              </a:xfrm>
              <a:custGeom>
                <a:avLst/>
                <a:gdLst>
                  <a:gd name="connsiteX0" fmla="*/ 4064000 w 4064000"/>
                  <a:gd name="connsiteY0" fmla="*/ 696503 h 696503"/>
                  <a:gd name="connsiteX1" fmla="*/ 3038763 w 4064000"/>
                  <a:gd name="connsiteY1" fmla="*/ 585667 h 696503"/>
                  <a:gd name="connsiteX2" fmla="*/ 2133600 w 4064000"/>
                  <a:gd name="connsiteY2" fmla="*/ 234685 h 696503"/>
                  <a:gd name="connsiteX3" fmla="*/ 1293090 w 4064000"/>
                  <a:gd name="connsiteY3" fmla="*/ 31485 h 696503"/>
                  <a:gd name="connsiteX4" fmla="*/ 0 w 4064000"/>
                  <a:gd name="connsiteY4" fmla="*/ 3776 h 696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4000" h="696503">
                    <a:moveTo>
                      <a:pt x="4064000" y="696503"/>
                    </a:moveTo>
                    <a:cubicBezTo>
                      <a:pt x="3712248" y="679570"/>
                      <a:pt x="3360496" y="662637"/>
                      <a:pt x="3038763" y="585667"/>
                    </a:cubicBezTo>
                    <a:cubicBezTo>
                      <a:pt x="2717030" y="508697"/>
                      <a:pt x="2424545" y="327049"/>
                      <a:pt x="2133600" y="234685"/>
                    </a:cubicBezTo>
                    <a:cubicBezTo>
                      <a:pt x="1842655" y="142321"/>
                      <a:pt x="1648690" y="69970"/>
                      <a:pt x="1293090" y="31485"/>
                    </a:cubicBezTo>
                    <a:cubicBezTo>
                      <a:pt x="937490" y="-7000"/>
                      <a:pt x="468745" y="-1612"/>
                      <a:pt x="0" y="3776"/>
                    </a:cubicBezTo>
                  </a:path>
                </a:pathLst>
              </a:custGeom>
              <a:noFill/>
              <a:ln w="38100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/>
              </a:p>
            </p:txBody>
          </p:sp>
          <p:grpSp>
            <p:nvGrpSpPr>
              <p:cNvPr id="146" name="组合 145">
                <a:extLst>
                  <a:ext uri="{FF2B5EF4-FFF2-40B4-BE49-F238E27FC236}">
                    <a16:creationId xmlns:a16="http://schemas.microsoft.com/office/drawing/2014/main" id="{CE14767E-10FB-4FE2-9B7B-C7A3C96FD990}"/>
                  </a:ext>
                </a:extLst>
              </p:cNvPr>
              <p:cNvGrpSpPr/>
              <p:nvPr/>
            </p:nvGrpSpPr>
            <p:grpSpPr>
              <a:xfrm>
                <a:off x="6423488" y="2099595"/>
                <a:ext cx="2828553" cy="855745"/>
                <a:chOff x="3327217" y="5387224"/>
                <a:chExt cx="2828553" cy="855745"/>
              </a:xfrm>
            </p:grpSpPr>
            <p:sp>
              <p:nvSpPr>
                <p:cNvPr id="154" name="椭圆 153">
                  <a:extLst>
                    <a:ext uri="{FF2B5EF4-FFF2-40B4-BE49-F238E27FC236}">
                      <a16:creationId xmlns:a16="http://schemas.microsoft.com/office/drawing/2014/main" id="{6552A83D-4B98-4C7F-96F3-25E468F647AC}"/>
                    </a:ext>
                  </a:extLst>
                </p:cNvPr>
                <p:cNvSpPr/>
                <p:nvPr/>
              </p:nvSpPr>
              <p:spPr>
                <a:xfrm>
                  <a:off x="3327217" y="5387224"/>
                  <a:ext cx="175490" cy="175490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55" name="椭圆 154">
                  <a:extLst>
                    <a:ext uri="{FF2B5EF4-FFF2-40B4-BE49-F238E27FC236}">
                      <a16:creationId xmlns:a16="http://schemas.microsoft.com/office/drawing/2014/main" id="{B6707582-62F5-489B-B08C-845FAB11C4A7}"/>
                    </a:ext>
                  </a:extLst>
                </p:cNvPr>
                <p:cNvSpPr/>
                <p:nvPr/>
              </p:nvSpPr>
              <p:spPr>
                <a:xfrm>
                  <a:off x="5980280" y="6067479"/>
                  <a:ext cx="175490" cy="175490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47" name="椭圆 146">
                <a:extLst>
                  <a:ext uri="{FF2B5EF4-FFF2-40B4-BE49-F238E27FC236}">
                    <a16:creationId xmlns:a16="http://schemas.microsoft.com/office/drawing/2014/main" id="{84084B05-07D2-4D9A-B7FB-D24C86A17C97}"/>
                  </a:ext>
                </a:extLst>
              </p:cNvPr>
              <p:cNvSpPr/>
              <p:nvPr/>
            </p:nvSpPr>
            <p:spPr>
              <a:xfrm>
                <a:off x="7814734" y="2308750"/>
                <a:ext cx="175490" cy="175490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8" name="文本占位符 5">
                <a:extLst>
                  <a:ext uri="{FF2B5EF4-FFF2-40B4-BE49-F238E27FC236}">
                    <a16:creationId xmlns:a16="http://schemas.microsoft.com/office/drawing/2014/main" id="{53B906F6-669B-4772-B0F1-6F4EE126B01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18487" y="2332944"/>
                <a:ext cx="1381541" cy="52221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2000">
                    <a:solidFill>
                      <a:srgbClr val="002060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lvl1pPr>
                <a:lvl2pPr marL="742950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solidFill>
                      <a:schemeClr val="tx1"/>
                    </a:solidFill>
                  </a:rPr>
                  <a:t>已知点</a:t>
                </a:r>
                <a:endParaRPr lang="en-US" altLang="zh-CN" sz="1400" dirty="0"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149" name="文本占位符 5">
                <a:extLst>
                  <a:ext uri="{FF2B5EF4-FFF2-40B4-BE49-F238E27FC236}">
                    <a16:creationId xmlns:a16="http://schemas.microsoft.com/office/drawing/2014/main" id="{F4E22284-11C1-4BCD-A43A-386F6995583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20519" y="2686432"/>
                <a:ext cx="1381541" cy="52221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2000">
                    <a:solidFill>
                      <a:srgbClr val="002060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lvl1pPr>
                <a:lvl2pPr marL="742950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solidFill>
                      <a:schemeClr val="tx1"/>
                    </a:solidFill>
                  </a:rPr>
                  <a:t>已知点</a:t>
                </a:r>
                <a:endParaRPr lang="en-US" altLang="zh-CN" sz="1400" dirty="0"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150" name="文本占位符 5">
                <a:extLst>
                  <a:ext uri="{FF2B5EF4-FFF2-40B4-BE49-F238E27FC236}">
                    <a16:creationId xmlns:a16="http://schemas.microsoft.com/office/drawing/2014/main" id="{BB1BF9D6-1E77-428C-A82F-A57AA55BF9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721828" y="1924407"/>
                <a:ext cx="1381541" cy="52221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2000">
                    <a:solidFill>
                      <a:srgbClr val="002060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lvl1pPr>
                <a:lvl2pPr marL="742950" indent="-28575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solidFill>
                      <a:schemeClr val="tx1"/>
                    </a:solidFill>
                  </a:rPr>
                  <a:t>输出点</a:t>
                </a:r>
                <a:endParaRPr lang="en-US" altLang="zh-CN" sz="1400" dirty="0"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151" name="矩形 150">
                <a:extLst>
                  <a:ext uri="{FF2B5EF4-FFF2-40B4-BE49-F238E27FC236}">
                    <a16:creationId xmlns:a16="http://schemas.microsoft.com/office/drawing/2014/main" id="{30B07D99-9AF2-491E-86CA-4C793A1E5E42}"/>
                  </a:ext>
                </a:extLst>
              </p:cNvPr>
              <p:cNvSpPr/>
              <p:nvPr/>
            </p:nvSpPr>
            <p:spPr>
              <a:xfrm>
                <a:off x="5875878" y="1847714"/>
                <a:ext cx="4571475" cy="12795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2" name="椭圆 151">
                <a:extLst>
                  <a:ext uri="{FF2B5EF4-FFF2-40B4-BE49-F238E27FC236}">
                    <a16:creationId xmlns:a16="http://schemas.microsoft.com/office/drawing/2014/main" id="{B6707582-62F5-489B-B08C-845FAB11C4A7}"/>
                  </a:ext>
                </a:extLst>
              </p:cNvPr>
              <p:cNvSpPr/>
              <p:nvPr/>
            </p:nvSpPr>
            <p:spPr>
              <a:xfrm>
                <a:off x="7127863" y="2099595"/>
                <a:ext cx="175490" cy="17549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3" name="椭圆 152">
                <a:extLst>
                  <a:ext uri="{FF2B5EF4-FFF2-40B4-BE49-F238E27FC236}">
                    <a16:creationId xmlns:a16="http://schemas.microsoft.com/office/drawing/2014/main" id="{B6707582-62F5-489B-B08C-845FAB11C4A7}"/>
                  </a:ext>
                </a:extLst>
              </p:cNvPr>
              <p:cNvSpPr/>
              <p:nvPr/>
            </p:nvSpPr>
            <p:spPr>
              <a:xfrm>
                <a:off x="8344229" y="2622834"/>
                <a:ext cx="175490" cy="17549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6" name="文本占位符 5">
              <a:extLst>
                <a:ext uri="{FF2B5EF4-FFF2-40B4-BE49-F238E27FC236}">
                  <a16:creationId xmlns:a16="http://schemas.microsoft.com/office/drawing/2014/main" id="{CCF2B9B5-15A3-4879-A97F-273F6AABA4CA}"/>
                </a:ext>
              </a:extLst>
            </p:cNvPr>
            <p:cNvSpPr txBox="1">
              <a:spLocks/>
            </p:cNvSpPr>
            <p:nvPr/>
          </p:nvSpPr>
          <p:spPr>
            <a:xfrm>
              <a:off x="11054269" y="2407290"/>
              <a:ext cx="527687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2400" dirty="0"/>
                <a:t>…</a:t>
              </a:r>
              <a:endParaRPr lang="en-US" altLang="zh-CN" sz="2400" dirty="0">
                <a:effectLst/>
              </a:endParaRPr>
            </a:p>
          </p:txBody>
        </p:sp>
        <p:sp>
          <p:nvSpPr>
            <p:cNvPr id="93" name="文本占位符 5">
              <a:extLst>
                <a:ext uri="{FF2B5EF4-FFF2-40B4-BE49-F238E27FC236}">
                  <a16:creationId xmlns:a16="http://schemas.microsoft.com/office/drawing/2014/main" id="{B64B339C-B88B-4257-BB85-EBA4B2B45A42}"/>
                </a:ext>
              </a:extLst>
            </p:cNvPr>
            <p:cNvSpPr txBox="1">
              <a:spLocks/>
            </p:cNvSpPr>
            <p:nvPr/>
          </p:nvSpPr>
          <p:spPr>
            <a:xfrm>
              <a:off x="7242154" y="3151146"/>
              <a:ext cx="4085065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b="1" dirty="0">
                  <a:solidFill>
                    <a:schemeClr val="tx1"/>
                  </a:solidFill>
                </a:rPr>
                <a:t>—— </a:t>
              </a:r>
              <a:r>
                <a:rPr lang="zh-CN" altLang="en-US" sz="1200" dirty="0">
                  <a:solidFill>
                    <a:schemeClr val="tx1"/>
                  </a:solidFill>
                </a:rPr>
                <a:t>红色点为输入，绿色点为输出，灰色点为不同的间隔</a:t>
              </a:r>
              <a:endParaRPr lang="en-US" altLang="zh-CN" sz="1200" dirty="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09" name="文本占位符 5">
              <a:extLst>
                <a:ext uri="{FF2B5EF4-FFF2-40B4-BE49-F238E27FC236}">
                  <a16:creationId xmlns:a16="http://schemas.microsoft.com/office/drawing/2014/main" id="{B64B339C-B88B-4257-BB85-EBA4B2B45A42}"/>
                </a:ext>
              </a:extLst>
            </p:cNvPr>
            <p:cNvSpPr txBox="1">
              <a:spLocks/>
            </p:cNvSpPr>
            <p:nvPr/>
          </p:nvSpPr>
          <p:spPr>
            <a:xfrm>
              <a:off x="5310964" y="1744161"/>
              <a:ext cx="1348473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b="1" dirty="0"/>
                <a:t>训练方式</a:t>
              </a:r>
              <a:endParaRPr lang="en-US" altLang="zh-CN" dirty="0">
                <a:effectLst/>
              </a:endParaRPr>
            </a:p>
          </p:txBody>
        </p:sp>
        <p:sp>
          <p:nvSpPr>
            <p:cNvPr id="112" name="任意多边形: 形状 83">
              <a:extLst>
                <a:ext uri="{FF2B5EF4-FFF2-40B4-BE49-F238E27FC236}">
                  <a16:creationId xmlns:a16="http://schemas.microsoft.com/office/drawing/2014/main" id="{D45B3D5D-EB27-4AB3-8A40-5C1E61845043}"/>
                </a:ext>
              </a:extLst>
            </p:cNvPr>
            <p:cNvSpPr/>
            <p:nvPr/>
          </p:nvSpPr>
          <p:spPr>
            <a:xfrm flipV="1">
              <a:off x="5402157" y="2089182"/>
              <a:ext cx="5807787" cy="45719"/>
            </a:xfrm>
            <a:custGeom>
              <a:avLst/>
              <a:gdLst>
                <a:gd name="connsiteX0" fmla="*/ 0 w 4396740"/>
                <a:gd name="connsiteY0" fmla="*/ 0 h 0"/>
                <a:gd name="connsiteX1" fmla="*/ 0 w 4396740"/>
                <a:gd name="connsiteY1" fmla="*/ 0 h 0"/>
                <a:gd name="connsiteX2" fmla="*/ 99060 w 4396740"/>
                <a:gd name="connsiteY2" fmla="*/ 0 h 0"/>
                <a:gd name="connsiteX3" fmla="*/ 4396740 w 439674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6740">
                  <a:moveTo>
                    <a:pt x="0" y="0"/>
                  </a:moveTo>
                  <a:lnTo>
                    <a:pt x="0" y="0"/>
                  </a:lnTo>
                  <a:lnTo>
                    <a:pt x="99060" y="0"/>
                  </a:lnTo>
                  <a:lnTo>
                    <a:pt x="439674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41CE4FD7-91D2-4F4C-95E8-D6B24FE64396}"/>
              </a:ext>
            </a:extLst>
          </p:cNvPr>
          <p:cNvGrpSpPr/>
          <p:nvPr/>
        </p:nvGrpSpPr>
        <p:grpSpPr>
          <a:xfrm>
            <a:off x="5352568" y="3709949"/>
            <a:ext cx="6033207" cy="2524214"/>
            <a:chOff x="5352568" y="3709949"/>
            <a:chExt cx="6033207" cy="2524214"/>
          </a:xfrm>
        </p:grpSpPr>
        <p:sp>
          <p:nvSpPr>
            <p:cNvPr id="78" name="任意多边形 35">
              <a:extLst>
                <a:ext uri="{FF2B5EF4-FFF2-40B4-BE49-F238E27FC236}">
                  <a16:creationId xmlns:a16="http://schemas.microsoft.com/office/drawing/2014/main" id="{4C161E82-4342-492C-B1FB-C3EF33B35B96}"/>
                </a:ext>
              </a:extLst>
            </p:cNvPr>
            <p:cNvSpPr/>
            <p:nvPr/>
          </p:nvSpPr>
          <p:spPr>
            <a:xfrm>
              <a:off x="6203189" y="4690006"/>
              <a:ext cx="4064000" cy="696503"/>
            </a:xfrm>
            <a:custGeom>
              <a:avLst/>
              <a:gdLst>
                <a:gd name="connsiteX0" fmla="*/ 4064000 w 4064000"/>
                <a:gd name="connsiteY0" fmla="*/ 696503 h 696503"/>
                <a:gd name="connsiteX1" fmla="*/ 3038763 w 4064000"/>
                <a:gd name="connsiteY1" fmla="*/ 585667 h 696503"/>
                <a:gd name="connsiteX2" fmla="*/ 2133600 w 4064000"/>
                <a:gd name="connsiteY2" fmla="*/ 234685 h 696503"/>
                <a:gd name="connsiteX3" fmla="*/ 1293090 w 4064000"/>
                <a:gd name="connsiteY3" fmla="*/ 31485 h 696503"/>
                <a:gd name="connsiteX4" fmla="*/ 0 w 4064000"/>
                <a:gd name="connsiteY4" fmla="*/ 3776 h 696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4000" h="696503">
                  <a:moveTo>
                    <a:pt x="4064000" y="696503"/>
                  </a:moveTo>
                  <a:cubicBezTo>
                    <a:pt x="3712248" y="679570"/>
                    <a:pt x="3360496" y="662637"/>
                    <a:pt x="3038763" y="585667"/>
                  </a:cubicBezTo>
                  <a:cubicBezTo>
                    <a:pt x="2717030" y="508697"/>
                    <a:pt x="2424545" y="327049"/>
                    <a:pt x="2133600" y="234685"/>
                  </a:cubicBezTo>
                  <a:cubicBezTo>
                    <a:pt x="1842655" y="142321"/>
                    <a:pt x="1648690" y="69970"/>
                    <a:pt x="1293090" y="31485"/>
                  </a:cubicBezTo>
                  <a:cubicBezTo>
                    <a:pt x="937490" y="-7000"/>
                    <a:pt x="468745" y="-1612"/>
                    <a:pt x="0" y="3776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9" name="文本占位符 5">
              <a:extLst>
                <a:ext uri="{FF2B5EF4-FFF2-40B4-BE49-F238E27FC236}">
                  <a16:creationId xmlns:a16="http://schemas.microsoft.com/office/drawing/2014/main" id="{30817968-E9C3-4803-A1EA-98F28967D0CF}"/>
                </a:ext>
              </a:extLst>
            </p:cNvPr>
            <p:cNvSpPr txBox="1">
              <a:spLocks/>
            </p:cNvSpPr>
            <p:nvPr/>
          </p:nvSpPr>
          <p:spPr>
            <a:xfrm>
              <a:off x="9882698" y="5511481"/>
              <a:ext cx="882738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dirty="0">
                  <a:solidFill>
                    <a:schemeClr val="tx1"/>
                  </a:solidFill>
                </a:rPr>
                <a:t>起点</a:t>
              </a:r>
              <a:endParaRPr lang="en-US" altLang="zh-CN" dirty="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91" name="文本占位符 5">
              <a:extLst>
                <a:ext uri="{FF2B5EF4-FFF2-40B4-BE49-F238E27FC236}">
                  <a16:creationId xmlns:a16="http://schemas.microsoft.com/office/drawing/2014/main" id="{B64B339C-B88B-4257-BB85-EBA4B2B45A42}"/>
                </a:ext>
              </a:extLst>
            </p:cNvPr>
            <p:cNvSpPr txBox="1">
              <a:spLocks/>
            </p:cNvSpPr>
            <p:nvPr/>
          </p:nvSpPr>
          <p:spPr>
            <a:xfrm>
              <a:off x="5818304" y="4850198"/>
              <a:ext cx="882738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dirty="0">
                  <a:solidFill>
                    <a:schemeClr val="tx1"/>
                  </a:solidFill>
                </a:rPr>
                <a:t>终点</a:t>
              </a:r>
              <a:endParaRPr lang="en-US" altLang="zh-CN" dirty="0">
                <a:solidFill>
                  <a:schemeClr val="tx1"/>
                </a:solidFill>
                <a:effectLst/>
              </a:endParaRPr>
            </a:p>
          </p:txBody>
        </p:sp>
        <p:pic>
          <p:nvPicPr>
            <p:cNvPr id="116" name="图片 115">
              <a:extLst>
                <a:ext uri="{FF2B5EF4-FFF2-40B4-BE49-F238E27FC236}">
                  <a16:creationId xmlns:a16="http://schemas.microsoft.com/office/drawing/2014/main" id="{D3C8EB7E-1986-4848-A170-00B062D5E2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flipH="1" flipV="1">
              <a:off x="10263478" y="5115482"/>
              <a:ext cx="838939" cy="53208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117" name="组合 116">
              <a:extLst>
                <a:ext uri="{FF2B5EF4-FFF2-40B4-BE49-F238E27FC236}">
                  <a16:creationId xmlns:a16="http://schemas.microsoft.com/office/drawing/2014/main" id="{31FAB4D6-6F52-420E-8A9C-A9DDCE916B0A}"/>
                </a:ext>
              </a:extLst>
            </p:cNvPr>
            <p:cNvGrpSpPr/>
            <p:nvPr/>
          </p:nvGrpSpPr>
          <p:grpSpPr>
            <a:xfrm>
              <a:off x="6157701" y="4602261"/>
              <a:ext cx="4151318" cy="866781"/>
              <a:chOff x="3327217" y="5387224"/>
              <a:chExt cx="4151318" cy="866781"/>
            </a:xfrm>
          </p:grpSpPr>
          <p:sp>
            <p:nvSpPr>
              <p:cNvPr id="118" name="椭圆 117">
                <a:extLst>
                  <a:ext uri="{FF2B5EF4-FFF2-40B4-BE49-F238E27FC236}">
                    <a16:creationId xmlns:a16="http://schemas.microsoft.com/office/drawing/2014/main" id="{7AFF374E-167E-4006-94F8-C417CABB0C70}"/>
                  </a:ext>
                </a:extLst>
              </p:cNvPr>
              <p:cNvSpPr/>
              <p:nvPr/>
            </p:nvSpPr>
            <p:spPr>
              <a:xfrm>
                <a:off x="3327217" y="5387224"/>
                <a:ext cx="175490" cy="175490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9" name="椭圆 118">
                <a:extLst>
                  <a:ext uri="{FF2B5EF4-FFF2-40B4-BE49-F238E27FC236}">
                    <a16:creationId xmlns:a16="http://schemas.microsoft.com/office/drawing/2014/main" id="{A7E906C1-3312-4743-BFB1-13F66E1421BF}"/>
                  </a:ext>
                </a:extLst>
              </p:cNvPr>
              <p:cNvSpPr/>
              <p:nvPr/>
            </p:nvSpPr>
            <p:spPr>
              <a:xfrm>
                <a:off x="7303045" y="6078515"/>
                <a:ext cx="175490" cy="175490"/>
              </a:xfrm>
              <a:prstGeom prst="ellipse">
                <a:avLst/>
              </a:prstGeom>
              <a:solidFill>
                <a:srgbClr val="FF0000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0" name="矩形 119">
              <a:extLst>
                <a:ext uri="{FF2B5EF4-FFF2-40B4-BE49-F238E27FC236}">
                  <a16:creationId xmlns:a16="http://schemas.microsoft.com/office/drawing/2014/main" id="{C00BCCFA-21D0-4F3C-90D5-257EC8B4EC14}"/>
                </a:ext>
              </a:extLst>
            </p:cNvPr>
            <p:cNvSpPr/>
            <p:nvPr/>
          </p:nvSpPr>
          <p:spPr>
            <a:xfrm>
              <a:off x="5818304" y="4592451"/>
              <a:ext cx="5408227" cy="1279531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3" name="文本占位符 5">
              <a:extLst>
                <a:ext uri="{FF2B5EF4-FFF2-40B4-BE49-F238E27FC236}">
                  <a16:creationId xmlns:a16="http://schemas.microsoft.com/office/drawing/2014/main" id="{B64B339C-B88B-4257-BB85-EBA4B2B45A42}"/>
                </a:ext>
              </a:extLst>
            </p:cNvPr>
            <p:cNvSpPr txBox="1">
              <a:spLocks/>
            </p:cNvSpPr>
            <p:nvPr/>
          </p:nvSpPr>
          <p:spPr>
            <a:xfrm>
              <a:off x="5352568" y="3709949"/>
              <a:ext cx="1348473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b="1" dirty="0"/>
                <a:t>生成方式</a:t>
              </a:r>
              <a:endParaRPr lang="en-US" altLang="zh-CN" dirty="0">
                <a:effectLst/>
              </a:endParaRPr>
            </a:p>
          </p:txBody>
        </p:sp>
        <p:sp>
          <p:nvSpPr>
            <p:cNvPr id="114" name="任意多边形: 形状 83">
              <a:extLst>
                <a:ext uri="{FF2B5EF4-FFF2-40B4-BE49-F238E27FC236}">
                  <a16:creationId xmlns:a16="http://schemas.microsoft.com/office/drawing/2014/main" id="{D45B3D5D-EB27-4AB3-8A40-5C1E61845043}"/>
                </a:ext>
              </a:extLst>
            </p:cNvPr>
            <p:cNvSpPr/>
            <p:nvPr/>
          </p:nvSpPr>
          <p:spPr>
            <a:xfrm flipV="1">
              <a:off x="5443761" y="4054970"/>
              <a:ext cx="5807787" cy="45719"/>
            </a:xfrm>
            <a:custGeom>
              <a:avLst/>
              <a:gdLst>
                <a:gd name="connsiteX0" fmla="*/ 0 w 4396740"/>
                <a:gd name="connsiteY0" fmla="*/ 0 h 0"/>
                <a:gd name="connsiteX1" fmla="*/ 0 w 4396740"/>
                <a:gd name="connsiteY1" fmla="*/ 0 h 0"/>
                <a:gd name="connsiteX2" fmla="*/ 99060 w 4396740"/>
                <a:gd name="connsiteY2" fmla="*/ 0 h 0"/>
                <a:gd name="connsiteX3" fmla="*/ 4396740 w 439674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96740">
                  <a:moveTo>
                    <a:pt x="0" y="0"/>
                  </a:moveTo>
                  <a:lnTo>
                    <a:pt x="0" y="0"/>
                  </a:lnTo>
                  <a:lnTo>
                    <a:pt x="99060" y="0"/>
                  </a:lnTo>
                  <a:lnTo>
                    <a:pt x="4396740" y="0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5" name="文本占位符 5">
              <a:extLst>
                <a:ext uri="{FF2B5EF4-FFF2-40B4-BE49-F238E27FC236}">
                  <a16:creationId xmlns:a16="http://schemas.microsoft.com/office/drawing/2014/main" id="{B64B339C-B88B-4257-BB85-EBA4B2B45A42}"/>
                </a:ext>
              </a:extLst>
            </p:cNvPr>
            <p:cNvSpPr txBox="1">
              <a:spLocks/>
            </p:cNvSpPr>
            <p:nvPr/>
          </p:nvSpPr>
          <p:spPr>
            <a:xfrm>
              <a:off x="6502118" y="5957164"/>
              <a:ext cx="4883657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b="1" dirty="0">
                  <a:solidFill>
                    <a:schemeClr val="tx1"/>
                  </a:solidFill>
                </a:rPr>
                <a:t>—— </a:t>
              </a:r>
              <a:r>
                <a:rPr lang="zh-CN" altLang="en-US" sz="1200" dirty="0">
                  <a:solidFill>
                    <a:schemeClr val="tx1"/>
                  </a:solidFill>
                </a:rPr>
                <a:t>红色为已知点，绿色点为第一次生成点，蓝色点为第二次生成点</a:t>
              </a:r>
              <a:endParaRPr lang="en-US" altLang="zh-CN" sz="1200" dirty="0">
                <a:solidFill>
                  <a:schemeClr val="tx1"/>
                </a:solidFill>
                <a:effectLst/>
              </a:endParaRPr>
            </a:p>
          </p:txBody>
        </p:sp>
      </p:grpSp>
      <p:sp>
        <p:nvSpPr>
          <p:cNvPr id="121" name="椭圆 120">
            <a:extLst>
              <a:ext uri="{FF2B5EF4-FFF2-40B4-BE49-F238E27FC236}">
                <a16:creationId xmlns:a16="http://schemas.microsoft.com/office/drawing/2014/main" id="{64B62B72-B450-47E4-9085-899B4E2AD374}"/>
              </a:ext>
            </a:extLst>
          </p:cNvPr>
          <p:cNvSpPr/>
          <p:nvPr/>
        </p:nvSpPr>
        <p:spPr>
          <a:xfrm>
            <a:off x="8143208" y="4789393"/>
            <a:ext cx="175490" cy="175490"/>
          </a:xfrm>
          <a:prstGeom prst="ellipse">
            <a:avLst/>
          </a:prstGeom>
          <a:solidFill>
            <a:srgbClr val="00B050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ACE7DC10-7AC3-43DF-B2ED-AE3852E8CD6C}"/>
              </a:ext>
            </a:extLst>
          </p:cNvPr>
          <p:cNvGrpSpPr/>
          <p:nvPr/>
        </p:nvGrpSpPr>
        <p:grpSpPr>
          <a:xfrm>
            <a:off x="7158890" y="4616060"/>
            <a:ext cx="2261130" cy="762992"/>
            <a:chOff x="7158890" y="4616060"/>
            <a:chExt cx="2261130" cy="762992"/>
          </a:xfrm>
        </p:grpSpPr>
        <p:sp>
          <p:nvSpPr>
            <p:cNvPr id="122" name="椭圆 121">
              <a:extLst>
                <a:ext uri="{FF2B5EF4-FFF2-40B4-BE49-F238E27FC236}">
                  <a16:creationId xmlns:a16="http://schemas.microsoft.com/office/drawing/2014/main" id="{43426959-D7DA-4A71-A43B-F66D35900059}"/>
                </a:ext>
              </a:extLst>
            </p:cNvPr>
            <p:cNvSpPr/>
            <p:nvPr/>
          </p:nvSpPr>
          <p:spPr>
            <a:xfrm>
              <a:off x="7158890" y="4616060"/>
              <a:ext cx="175490" cy="175490"/>
            </a:xfrm>
            <a:prstGeom prst="ellipse">
              <a:avLst/>
            </a:prstGeom>
            <a:solidFill>
              <a:srgbClr val="1616FF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3" name="椭圆 122">
              <a:extLst>
                <a:ext uri="{FF2B5EF4-FFF2-40B4-BE49-F238E27FC236}">
                  <a16:creationId xmlns:a16="http://schemas.microsoft.com/office/drawing/2014/main" id="{370A4DB3-6822-4B2E-9008-C90332FC5018}"/>
                </a:ext>
              </a:extLst>
            </p:cNvPr>
            <p:cNvSpPr/>
            <p:nvPr/>
          </p:nvSpPr>
          <p:spPr>
            <a:xfrm>
              <a:off x="9244530" y="5203562"/>
              <a:ext cx="175490" cy="175490"/>
            </a:xfrm>
            <a:prstGeom prst="ellipse">
              <a:avLst/>
            </a:prstGeom>
            <a:solidFill>
              <a:srgbClr val="1616FF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B5C858CD-00DD-4E0C-B470-4FAFFF8B46DB}"/>
              </a:ext>
            </a:extLst>
          </p:cNvPr>
          <p:cNvGrpSpPr/>
          <p:nvPr/>
        </p:nvGrpSpPr>
        <p:grpSpPr>
          <a:xfrm>
            <a:off x="6675234" y="4609094"/>
            <a:ext cx="3217719" cy="831563"/>
            <a:chOff x="6675234" y="4609094"/>
            <a:chExt cx="3217719" cy="831563"/>
          </a:xfrm>
        </p:grpSpPr>
        <p:sp>
          <p:nvSpPr>
            <p:cNvPr id="124" name="椭圆 123">
              <a:extLst>
                <a:ext uri="{FF2B5EF4-FFF2-40B4-BE49-F238E27FC236}">
                  <a16:creationId xmlns:a16="http://schemas.microsoft.com/office/drawing/2014/main" id="{20397439-8C33-421D-B465-95235E8FD0EC}"/>
                </a:ext>
              </a:extLst>
            </p:cNvPr>
            <p:cNvSpPr/>
            <p:nvPr/>
          </p:nvSpPr>
          <p:spPr>
            <a:xfrm>
              <a:off x="6675234" y="4609094"/>
              <a:ext cx="175490" cy="175490"/>
            </a:xfrm>
            <a:prstGeom prst="ellipse">
              <a:avLst/>
            </a:prstGeom>
            <a:solidFill>
              <a:srgbClr val="7030A0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5" name="椭圆 124">
              <a:extLst>
                <a:ext uri="{FF2B5EF4-FFF2-40B4-BE49-F238E27FC236}">
                  <a16:creationId xmlns:a16="http://schemas.microsoft.com/office/drawing/2014/main" id="{594C0FD8-1DDA-4E54-9D3E-8FD16CD5EAB0}"/>
                </a:ext>
              </a:extLst>
            </p:cNvPr>
            <p:cNvSpPr/>
            <p:nvPr/>
          </p:nvSpPr>
          <p:spPr>
            <a:xfrm>
              <a:off x="7659552" y="4674708"/>
              <a:ext cx="175490" cy="175490"/>
            </a:xfrm>
            <a:prstGeom prst="ellipse">
              <a:avLst/>
            </a:prstGeom>
            <a:solidFill>
              <a:srgbClr val="7030A0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6" name="椭圆 125">
              <a:extLst>
                <a:ext uri="{FF2B5EF4-FFF2-40B4-BE49-F238E27FC236}">
                  <a16:creationId xmlns:a16="http://schemas.microsoft.com/office/drawing/2014/main" id="{8AF265B5-7F64-4B4C-B2DA-948240FB10D2}"/>
                </a:ext>
              </a:extLst>
            </p:cNvPr>
            <p:cNvSpPr/>
            <p:nvPr/>
          </p:nvSpPr>
          <p:spPr>
            <a:xfrm>
              <a:off x="8691510" y="5014685"/>
              <a:ext cx="175490" cy="175490"/>
            </a:xfrm>
            <a:prstGeom prst="ellipse">
              <a:avLst/>
            </a:prstGeom>
            <a:solidFill>
              <a:srgbClr val="7030A0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7" name="椭圆 126">
              <a:extLst>
                <a:ext uri="{FF2B5EF4-FFF2-40B4-BE49-F238E27FC236}">
                  <a16:creationId xmlns:a16="http://schemas.microsoft.com/office/drawing/2014/main" id="{F02B15C2-6838-4AF2-900C-63624A536E47}"/>
                </a:ext>
              </a:extLst>
            </p:cNvPr>
            <p:cNvSpPr/>
            <p:nvPr/>
          </p:nvSpPr>
          <p:spPr>
            <a:xfrm>
              <a:off x="9717463" y="5265167"/>
              <a:ext cx="175490" cy="175490"/>
            </a:xfrm>
            <a:prstGeom prst="ellipse">
              <a:avLst/>
            </a:prstGeom>
            <a:solidFill>
              <a:srgbClr val="7030A0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9503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9463"/>
    </mc:Choice>
    <mc:Fallback xmlns="">
      <p:transition spd="slow" advTm="5946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12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05B35991-3B3C-4595-B62C-539FB615FC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83E12FC-B727-46EE-A3F4-36BAB21DAD93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BE1E9E5F-87AD-4F36-AFB8-E7867A31DE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5" name="副标题 4">
            <a:extLst>
              <a:ext uri="{FF2B5EF4-FFF2-40B4-BE49-F238E27FC236}">
                <a16:creationId xmlns:a16="http://schemas.microsoft.com/office/drawing/2014/main" id="{8407DCA8-F6D1-45C6-AE35-B797FDBB2B8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方法</a:t>
            </a:r>
          </a:p>
        </p:txBody>
      </p:sp>
      <p:sp>
        <p:nvSpPr>
          <p:cNvPr id="55" name="内容占位符 2">
            <a:extLst>
              <a:ext uri="{FF2B5EF4-FFF2-40B4-BE49-F238E27FC236}">
                <a16:creationId xmlns:a16="http://schemas.microsoft.com/office/drawing/2014/main" id="{855AE5FE-17C6-4278-B3F4-0DA51D5DBD3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0126" y="867395"/>
            <a:ext cx="8168848" cy="402605"/>
          </a:xfrm>
        </p:spPr>
        <p:txBody>
          <a:bodyPr>
            <a:normAutofit lnSpcReduction="10000"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于深度学习的轨迹生成方法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特征参数</a:t>
            </a:r>
            <a:endParaRPr lang="zh-CN" altLang="en-US" dirty="0"/>
          </a:p>
        </p:txBody>
      </p:sp>
      <p:sp>
        <p:nvSpPr>
          <p:cNvPr id="93" name="文本占位符 5">
            <a:extLst>
              <a:ext uri="{FF2B5EF4-FFF2-40B4-BE49-F238E27FC236}">
                <a16:creationId xmlns:a16="http://schemas.microsoft.com/office/drawing/2014/main" id="{50865D83-645F-42DD-AA32-1BDD2415B082}"/>
              </a:ext>
            </a:extLst>
          </p:cNvPr>
          <p:cNvSpPr txBox="1">
            <a:spLocks/>
          </p:cNvSpPr>
          <p:nvPr/>
        </p:nvSpPr>
        <p:spPr>
          <a:xfrm>
            <a:off x="182779" y="1324641"/>
            <a:ext cx="4739856" cy="380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000" b="1" dirty="0">
                <a:latin typeface="微软雅黑" panose="020B0503020204020204" pitchFamily="34" charset="-122"/>
              </a:rPr>
              <a:t>3.4.4 </a:t>
            </a:r>
            <a:r>
              <a:rPr lang="zh-CN" altLang="en-US" sz="2000" b="1" dirty="0">
                <a:latin typeface="微软雅黑" panose="020B0503020204020204" pitchFamily="34" charset="-122"/>
              </a:rPr>
              <a:t>轨迹生成模型的输入和输出</a:t>
            </a:r>
            <a:endParaRPr lang="en-US" altLang="zh-CN" sz="2000" b="1" dirty="0">
              <a:latin typeface="微软雅黑" panose="020B0503020204020204" pitchFamily="34" charset="-122"/>
            </a:endParaRPr>
          </a:p>
        </p:txBody>
      </p:sp>
      <p:sp>
        <p:nvSpPr>
          <p:cNvPr id="59" name="文本占位符 5">
            <a:extLst>
              <a:ext uri="{FF2B5EF4-FFF2-40B4-BE49-F238E27FC236}">
                <a16:creationId xmlns:a16="http://schemas.microsoft.com/office/drawing/2014/main" id="{2A4374AA-4DF6-420F-8155-31551C353AF0}"/>
              </a:ext>
            </a:extLst>
          </p:cNvPr>
          <p:cNvSpPr txBox="1">
            <a:spLocks/>
          </p:cNvSpPr>
          <p:nvPr/>
        </p:nvSpPr>
        <p:spPr>
          <a:xfrm>
            <a:off x="629775" y="1827836"/>
            <a:ext cx="6887628" cy="35394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2000">
                <a:solidFill>
                  <a:srgbClr val="00206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b="1" dirty="0"/>
              <a:t>输入</a:t>
            </a:r>
            <a:r>
              <a:rPr lang="en-US" altLang="zh-CN" sz="2400" b="1" dirty="0"/>
              <a:t>:</a:t>
            </a:r>
          </a:p>
          <a:p>
            <a:r>
              <a:rPr lang="en-US" altLang="zh-CN" sz="2400" b="1" dirty="0"/>
              <a:t>	</a:t>
            </a:r>
            <a:r>
              <a:rPr lang="zh-CN" altLang="en-US" dirty="0"/>
              <a:t>①研究主体起点的位置、速度、加速度</a:t>
            </a:r>
            <a:endParaRPr lang="en-US" altLang="zh-CN" dirty="0"/>
          </a:p>
          <a:p>
            <a:r>
              <a:rPr lang="en-US" altLang="zh-CN" dirty="0"/>
              <a:t>	</a:t>
            </a:r>
            <a:r>
              <a:rPr lang="zh-CN" altLang="en-US" dirty="0"/>
              <a:t>②研究主体终点的位置、</a:t>
            </a:r>
            <a:r>
              <a:rPr lang="zh-CN" altLang="en-US" dirty="0">
                <a:solidFill>
                  <a:srgbClr val="FF0000"/>
                </a:solidFill>
              </a:rPr>
              <a:t>速度、加速度（</a:t>
            </a:r>
            <a:r>
              <a:rPr lang="en-US" altLang="zh-CN" dirty="0">
                <a:solidFill>
                  <a:srgbClr val="FF0000"/>
                </a:solidFill>
              </a:rPr>
              <a:t>CA</a:t>
            </a:r>
            <a:r>
              <a:rPr lang="zh-CN" altLang="en-US" dirty="0">
                <a:solidFill>
                  <a:srgbClr val="FF0000"/>
                </a:solidFill>
              </a:rPr>
              <a:t>）</a:t>
            </a:r>
            <a:endParaRPr lang="en-US" altLang="zh-CN" dirty="0">
              <a:solidFill>
                <a:srgbClr val="FF0000"/>
              </a:solidFill>
            </a:endParaRPr>
          </a:p>
          <a:p>
            <a:r>
              <a:rPr lang="en-US" altLang="zh-CN" dirty="0">
                <a:effectLst/>
              </a:rPr>
              <a:t>	</a:t>
            </a:r>
            <a:r>
              <a:rPr lang="zh-CN" altLang="en-US" dirty="0">
                <a:effectLst/>
              </a:rPr>
              <a:t>③</a:t>
            </a:r>
            <a:r>
              <a:rPr lang="zh-CN" altLang="en-US" dirty="0"/>
              <a:t>起点时刻交互对象的位置、速度、加速度</a:t>
            </a:r>
            <a:endParaRPr lang="en-US" altLang="zh-CN" dirty="0"/>
          </a:p>
          <a:p>
            <a:r>
              <a:rPr lang="zh-CN" altLang="en-US" dirty="0"/>
              <a:t>              ④</a:t>
            </a:r>
            <a:r>
              <a:rPr lang="zh-CN" altLang="en-US" dirty="0">
                <a:solidFill>
                  <a:srgbClr val="FF0000"/>
                </a:solidFill>
              </a:rPr>
              <a:t>终点时刻交互对象的位置、速度、加速度</a:t>
            </a:r>
            <a:r>
              <a:rPr lang="en-US" altLang="zh-CN" dirty="0">
                <a:solidFill>
                  <a:srgbClr val="FF0000"/>
                </a:solidFill>
              </a:rPr>
              <a:t>(CA)</a:t>
            </a:r>
            <a:endParaRPr lang="en-US" altLang="zh-CN" sz="2400" dirty="0"/>
          </a:p>
          <a:p>
            <a:endParaRPr lang="en-US" altLang="zh-CN" sz="2400" b="1" dirty="0"/>
          </a:p>
          <a:p>
            <a:endParaRPr lang="en-US" altLang="zh-CN" sz="2400" b="1" dirty="0"/>
          </a:p>
          <a:p>
            <a:r>
              <a:rPr lang="zh-CN" altLang="en-US" sz="2400" b="1" dirty="0"/>
              <a:t>输出</a:t>
            </a:r>
            <a:r>
              <a:rPr lang="en-US" altLang="zh-CN" sz="2400" b="1" dirty="0"/>
              <a:t>:</a:t>
            </a:r>
          </a:p>
          <a:p>
            <a:r>
              <a:rPr lang="en-US" altLang="zh-CN" sz="2400" b="1" dirty="0"/>
              <a:t>	</a:t>
            </a:r>
            <a:r>
              <a:rPr lang="zh-CN" altLang="en-US" dirty="0"/>
              <a:t>①</a:t>
            </a:r>
            <a:r>
              <a:rPr lang="zh-CN" altLang="en-US" b="1" dirty="0">
                <a:solidFill>
                  <a:srgbClr val="00B0F0"/>
                </a:solidFill>
              </a:rPr>
              <a:t>中间点的相对位置</a:t>
            </a:r>
            <a:r>
              <a:rPr lang="zh-CN" altLang="en-US" dirty="0"/>
              <a:t>、速度、加速度</a:t>
            </a:r>
            <a:endParaRPr lang="en-US" altLang="zh-CN" dirty="0"/>
          </a:p>
          <a:p>
            <a:r>
              <a:rPr lang="en-US" altLang="zh-CN" dirty="0"/>
              <a:t>	</a:t>
            </a:r>
            <a:r>
              <a:rPr lang="zh-CN" altLang="en-US" dirty="0"/>
              <a:t>②交互对象的位置、速度、加速度（</a:t>
            </a:r>
            <a:r>
              <a:rPr lang="en-US" altLang="zh-CN" dirty="0"/>
              <a:t>1</a:t>
            </a:r>
            <a:r>
              <a:rPr lang="zh-CN" altLang="en-US" dirty="0"/>
              <a:t>个）</a:t>
            </a:r>
            <a:endParaRPr lang="en-US" altLang="zh-CN" dirty="0"/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B385996A-1AD0-406C-AE14-94CDC217A252}"/>
              </a:ext>
            </a:extLst>
          </p:cNvPr>
          <p:cNvGrpSpPr/>
          <p:nvPr/>
        </p:nvGrpSpPr>
        <p:grpSpPr>
          <a:xfrm>
            <a:off x="7255778" y="1851819"/>
            <a:ext cx="4498072" cy="3215462"/>
            <a:chOff x="7255778" y="1851819"/>
            <a:chExt cx="4498072" cy="3215462"/>
          </a:xfrm>
        </p:grpSpPr>
        <p:sp>
          <p:nvSpPr>
            <p:cNvPr id="61" name="文本占位符 5">
              <a:extLst>
                <a:ext uri="{FF2B5EF4-FFF2-40B4-BE49-F238E27FC236}">
                  <a16:creationId xmlns:a16="http://schemas.microsoft.com/office/drawing/2014/main" id="{7F14E79B-E3CC-4CCF-A100-2578195EEDEC}"/>
                </a:ext>
              </a:extLst>
            </p:cNvPr>
            <p:cNvSpPr txBox="1">
              <a:spLocks/>
            </p:cNvSpPr>
            <p:nvPr/>
          </p:nvSpPr>
          <p:spPr>
            <a:xfrm>
              <a:off x="8256943" y="4697949"/>
              <a:ext cx="296634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800" dirty="0">
                  <a:solidFill>
                    <a:schemeClr val="tx1"/>
                  </a:solidFill>
                </a:rPr>
                <a:t>输出中间点相对位置</a:t>
              </a:r>
              <a:endParaRPr lang="en-US" altLang="zh-CN" sz="1800" dirty="0">
                <a:solidFill>
                  <a:schemeClr val="tx1"/>
                </a:solidFill>
              </a:endParaRPr>
            </a:p>
          </p:txBody>
        </p:sp>
        <p:grpSp>
          <p:nvGrpSpPr>
            <p:cNvPr id="62" name="组合 61">
              <a:extLst>
                <a:ext uri="{FF2B5EF4-FFF2-40B4-BE49-F238E27FC236}">
                  <a16:creationId xmlns:a16="http://schemas.microsoft.com/office/drawing/2014/main" id="{B5DDC695-D38B-4BFC-910B-E74A7D6EAF19}"/>
                </a:ext>
              </a:extLst>
            </p:cNvPr>
            <p:cNvGrpSpPr/>
            <p:nvPr/>
          </p:nvGrpSpPr>
          <p:grpSpPr>
            <a:xfrm>
              <a:off x="7561298" y="2065018"/>
              <a:ext cx="3661992" cy="2389622"/>
              <a:chOff x="8381965" y="2962922"/>
              <a:chExt cx="2377937" cy="1551716"/>
            </a:xfrm>
          </p:grpSpPr>
          <p:sp>
            <p:nvSpPr>
              <p:cNvPr id="69" name="任意多边形 10">
                <a:extLst>
                  <a:ext uri="{FF2B5EF4-FFF2-40B4-BE49-F238E27FC236}">
                    <a16:creationId xmlns:a16="http://schemas.microsoft.com/office/drawing/2014/main" id="{C5D66B00-8995-4360-954F-0A5FC9FC7E15}"/>
                  </a:ext>
                </a:extLst>
              </p:cNvPr>
              <p:cNvSpPr/>
              <p:nvPr/>
            </p:nvSpPr>
            <p:spPr>
              <a:xfrm>
                <a:off x="8430250" y="2962922"/>
                <a:ext cx="2329652" cy="1507778"/>
              </a:xfrm>
              <a:custGeom>
                <a:avLst/>
                <a:gdLst>
                  <a:gd name="connsiteX0" fmla="*/ 0 w 1814513"/>
                  <a:gd name="connsiteY0" fmla="*/ 0 h 1152525"/>
                  <a:gd name="connsiteX1" fmla="*/ 0 w 1814513"/>
                  <a:gd name="connsiteY1" fmla="*/ 1152525 h 1152525"/>
                  <a:gd name="connsiteX2" fmla="*/ 1814513 w 1814513"/>
                  <a:gd name="connsiteY2" fmla="*/ 1152525 h 1152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14513" h="1152525">
                    <a:moveTo>
                      <a:pt x="0" y="0"/>
                    </a:moveTo>
                    <a:lnTo>
                      <a:pt x="0" y="1152525"/>
                    </a:lnTo>
                    <a:lnTo>
                      <a:pt x="1814513" y="1152525"/>
                    </a:lnTo>
                  </a:path>
                </a:pathLst>
              </a:custGeom>
              <a:noFill/>
              <a:ln w="9525">
                <a:solidFill>
                  <a:schemeClr val="tx1"/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任意多边形 7">
                <a:extLst>
                  <a:ext uri="{FF2B5EF4-FFF2-40B4-BE49-F238E27FC236}">
                    <a16:creationId xmlns:a16="http://schemas.microsoft.com/office/drawing/2014/main" id="{75189A50-E24F-4FF9-843D-9255AE7EBE0B}"/>
                  </a:ext>
                </a:extLst>
              </p:cNvPr>
              <p:cNvSpPr/>
              <p:nvPr/>
            </p:nvSpPr>
            <p:spPr>
              <a:xfrm>
                <a:off x="8451373" y="3546892"/>
                <a:ext cx="2087106" cy="876914"/>
              </a:xfrm>
              <a:custGeom>
                <a:avLst/>
                <a:gdLst>
                  <a:gd name="connsiteX0" fmla="*/ 1625600 w 1625600"/>
                  <a:gd name="connsiteY0" fmla="*/ 665018 h 697938"/>
                  <a:gd name="connsiteX1" fmla="*/ 1006764 w 1625600"/>
                  <a:gd name="connsiteY1" fmla="*/ 637309 h 697938"/>
                  <a:gd name="connsiteX2" fmla="*/ 674255 w 1625600"/>
                  <a:gd name="connsiteY2" fmla="*/ 110836 h 697938"/>
                  <a:gd name="connsiteX3" fmla="*/ 0 w 1625600"/>
                  <a:gd name="connsiteY3" fmla="*/ 0 h 697938"/>
                  <a:gd name="connsiteX4" fmla="*/ 0 w 1625600"/>
                  <a:gd name="connsiteY4" fmla="*/ 0 h 697938"/>
                  <a:gd name="connsiteX0" fmla="*/ 1625600 w 1625600"/>
                  <a:gd name="connsiteY0" fmla="*/ 665018 h 670569"/>
                  <a:gd name="connsiteX1" fmla="*/ 1043710 w 1625600"/>
                  <a:gd name="connsiteY1" fmla="*/ 489527 h 670569"/>
                  <a:gd name="connsiteX2" fmla="*/ 674255 w 1625600"/>
                  <a:gd name="connsiteY2" fmla="*/ 110836 h 670569"/>
                  <a:gd name="connsiteX3" fmla="*/ 0 w 1625600"/>
                  <a:gd name="connsiteY3" fmla="*/ 0 h 670569"/>
                  <a:gd name="connsiteX4" fmla="*/ 0 w 1625600"/>
                  <a:gd name="connsiteY4" fmla="*/ 0 h 670569"/>
                  <a:gd name="connsiteX0" fmla="*/ 1625600 w 1625600"/>
                  <a:gd name="connsiteY0" fmla="*/ 665018 h 670250"/>
                  <a:gd name="connsiteX1" fmla="*/ 1043710 w 1625600"/>
                  <a:gd name="connsiteY1" fmla="*/ 489527 h 670250"/>
                  <a:gd name="connsiteX2" fmla="*/ 480291 w 1625600"/>
                  <a:gd name="connsiteY2" fmla="*/ 166254 h 670250"/>
                  <a:gd name="connsiteX3" fmla="*/ 0 w 1625600"/>
                  <a:gd name="connsiteY3" fmla="*/ 0 h 670250"/>
                  <a:gd name="connsiteX4" fmla="*/ 0 w 1625600"/>
                  <a:gd name="connsiteY4" fmla="*/ 0 h 670250"/>
                  <a:gd name="connsiteX0" fmla="*/ 1625600 w 1625600"/>
                  <a:gd name="connsiteY0" fmla="*/ 665018 h 670250"/>
                  <a:gd name="connsiteX1" fmla="*/ 1043710 w 1625600"/>
                  <a:gd name="connsiteY1" fmla="*/ 489527 h 670250"/>
                  <a:gd name="connsiteX2" fmla="*/ 480291 w 1625600"/>
                  <a:gd name="connsiteY2" fmla="*/ 166254 h 670250"/>
                  <a:gd name="connsiteX3" fmla="*/ 0 w 1625600"/>
                  <a:gd name="connsiteY3" fmla="*/ 0 h 670250"/>
                  <a:gd name="connsiteX4" fmla="*/ 0 w 1625600"/>
                  <a:gd name="connsiteY4" fmla="*/ 0 h 670250"/>
                  <a:gd name="connsiteX0" fmla="*/ 1625600 w 1625600"/>
                  <a:gd name="connsiteY0" fmla="*/ 665018 h 670802"/>
                  <a:gd name="connsiteX1" fmla="*/ 1043710 w 1625600"/>
                  <a:gd name="connsiteY1" fmla="*/ 489527 h 670802"/>
                  <a:gd name="connsiteX2" fmla="*/ 535710 w 1625600"/>
                  <a:gd name="connsiteY2" fmla="*/ 73890 h 670802"/>
                  <a:gd name="connsiteX3" fmla="*/ 0 w 1625600"/>
                  <a:gd name="connsiteY3" fmla="*/ 0 h 670802"/>
                  <a:gd name="connsiteX4" fmla="*/ 0 w 1625600"/>
                  <a:gd name="connsiteY4" fmla="*/ 0 h 670802"/>
                  <a:gd name="connsiteX0" fmla="*/ 1625600 w 1625600"/>
                  <a:gd name="connsiteY0" fmla="*/ 665018 h 670802"/>
                  <a:gd name="connsiteX1" fmla="*/ 1043710 w 1625600"/>
                  <a:gd name="connsiteY1" fmla="*/ 489527 h 670802"/>
                  <a:gd name="connsiteX2" fmla="*/ 535710 w 1625600"/>
                  <a:gd name="connsiteY2" fmla="*/ 73890 h 670802"/>
                  <a:gd name="connsiteX3" fmla="*/ 0 w 1625600"/>
                  <a:gd name="connsiteY3" fmla="*/ 0 h 670802"/>
                  <a:gd name="connsiteX4" fmla="*/ 0 w 1625600"/>
                  <a:gd name="connsiteY4" fmla="*/ 0 h 670802"/>
                  <a:gd name="connsiteX0" fmla="*/ 1625600 w 1625600"/>
                  <a:gd name="connsiteY0" fmla="*/ 665018 h 670301"/>
                  <a:gd name="connsiteX1" fmla="*/ 1043710 w 1625600"/>
                  <a:gd name="connsiteY1" fmla="*/ 489527 h 670301"/>
                  <a:gd name="connsiteX2" fmla="*/ 600364 w 1625600"/>
                  <a:gd name="connsiteY2" fmla="*/ 157017 h 670301"/>
                  <a:gd name="connsiteX3" fmla="*/ 0 w 1625600"/>
                  <a:gd name="connsiteY3" fmla="*/ 0 h 670301"/>
                  <a:gd name="connsiteX4" fmla="*/ 0 w 1625600"/>
                  <a:gd name="connsiteY4" fmla="*/ 0 h 670301"/>
                  <a:gd name="connsiteX0" fmla="*/ 1625600 w 1625600"/>
                  <a:gd name="connsiteY0" fmla="*/ 665018 h 670301"/>
                  <a:gd name="connsiteX1" fmla="*/ 1043710 w 1625600"/>
                  <a:gd name="connsiteY1" fmla="*/ 489527 h 670301"/>
                  <a:gd name="connsiteX2" fmla="*/ 600364 w 1625600"/>
                  <a:gd name="connsiteY2" fmla="*/ 157017 h 670301"/>
                  <a:gd name="connsiteX3" fmla="*/ 0 w 1625600"/>
                  <a:gd name="connsiteY3" fmla="*/ 0 h 670301"/>
                  <a:gd name="connsiteX4" fmla="*/ 0 w 1625600"/>
                  <a:gd name="connsiteY4" fmla="*/ 0 h 670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5600" h="670301">
                    <a:moveTo>
                      <a:pt x="1625600" y="665018"/>
                    </a:moveTo>
                    <a:cubicBezTo>
                      <a:pt x="1395460" y="697345"/>
                      <a:pt x="1214583" y="574194"/>
                      <a:pt x="1043710" y="489527"/>
                    </a:cubicBezTo>
                    <a:cubicBezTo>
                      <a:pt x="872837" y="404860"/>
                      <a:pt x="829734" y="284788"/>
                      <a:pt x="600364" y="157017"/>
                    </a:cubicBezTo>
                    <a:cubicBezTo>
                      <a:pt x="370994" y="29246"/>
                      <a:pt x="100061" y="26170"/>
                      <a:pt x="0" y="0"/>
                    </a:cubicBez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1" name="椭圆 70">
                <a:extLst>
                  <a:ext uri="{FF2B5EF4-FFF2-40B4-BE49-F238E27FC236}">
                    <a16:creationId xmlns:a16="http://schemas.microsoft.com/office/drawing/2014/main" id="{A6330376-DF1F-44CB-9236-F48B8A23C7EA}"/>
                  </a:ext>
                </a:extLst>
              </p:cNvPr>
              <p:cNvSpPr/>
              <p:nvPr/>
            </p:nvSpPr>
            <p:spPr>
              <a:xfrm>
                <a:off x="10435492" y="4331455"/>
                <a:ext cx="179775" cy="183183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2" name="椭圆 71">
                <a:extLst>
                  <a:ext uri="{FF2B5EF4-FFF2-40B4-BE49-F238E27FC236}">
                    <a16:creationId xmlns:a16="http://schemas.microsoft.com/office/drawing/2014/main" id="{6A46F1DD-B044-4F07-B3BD-990FB314555A}"/>
                  </a:ext>
                </a:extLst>
              </p:cNvPr>
              <p:cNvSpPr/>
              <p:nvPr/>
            </p:nvSpPr>
            <p:spPr>
              <a:xfrm>
                <a:off x="8381965" y="3436073"/>
                <a:ext cx="179775" cy="183183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3" name="任意多边形 14">
                <a:extLst>
                  <a:ext uri="{FF2B5EF4-FFF2-40B4-BE49-F238E27FC236}">
                    <a16:creationId xmlns:a16="http://schemas.microsoft.com/office/drawing/2014/main" id="{8D9CEEE9-ADE7-4022-84B4-016D8102526E}"/>
                  </a:ext>
                </a:extLst>
              </p:cNvPr>
              <p:cNvSpPr/>
              <p:nvPr/>
            </p:nvSpPr>
            <p:spPr>
              <a:xfrm>
                <a:off x="8424136" y="3878809"/>
                <a:ext cx="1015019" cy="579436"/>
              </a:xfrm>
              <a:custGeom>
                <a:avLst/>
                <a:gdLst>
                  <a:gd name="connsiteX0" fmla="*/ 0 w 790575"/>
                  <a:gd name="connsiteY0" fmla="*/ 0 h 442913"/>
                  <a:gd name="connsiteX1" fmla="*/ 790575 w 790575"/>
                  <a:gd name="connsiteY1" fmla="*/ 0 h 442913"/>
                  <a:gd name="connsiteX2" fmla="*/ 790575 w 790575"/>
                  <a:gd name="connsiteY2" fmla="*/ 442913 h 442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0575" h="442913">
                    <a:moveTo>
                      <a:pt x="0" y="0"/>
                    </a:moveTo>
                    <a:lnTo>
                      <a:pt x="790575" y="0"/>
                    </a:lnTo>
                    <a:lnTo>
                      <a:pt x="790575" y="442913"/>
                    </a:lnTo>
                  </a:path>
                </a:pathLst>
              </a:custGeom>
              <a:noFill/>
              <a:ln w="9525">
                <a:solidFill>
                  <a:schemeClr val="tx1"/>
                </a:solidFill>
                <a:prstDash val="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椭圆 73">
                <a:extLst>
                  <a:ext uri="{FF2B5EF4-FFF2-40B4-BE49-F238E27FC236}">
                    <a16:creationId xmlns:a16="http://schemas.microsoft.com/office/drawing/2014/main" id="{0BA9E9C7-8C38-413B-BBB5-D05A1DC45AA2}"/>
                  </a:ext>
                </a:extLst>
              </p:cNvPr>
              <p:cNvSpPr/>
              <p:nvPr/>
            </p:nvSpPr>
            <p:spPr>
              <a:xfrm>
                <a:off x="9341028" y="3795718"/>
                <a:ext cx="179775" cy="183183"/>
              </a:xfrm>
              <a:prstGeom prst="ellipse">
                <a:avLst/>
              </a:prstGeom>
              <a:solidFill>
                <a:srgbClr val="00B05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63" name="文本占位符 5">
              <a:extLst>
                <a:ext uri="{FF2B5EF4-FFF2-40B4-BE49-F238E27FC236}">
                  <a16:creationId xmlns:a16="http://schemas.microsoft.com/office/drawing/2014/main" id="{6DA1A4C9-B2F8-4CEC-9F8C-A81BD5027877}"/>
                </a:ext>
              </a:extLst>
            </p:cNvPr>
            <p:cNvSpPr txBox="1">
              <a:spLocks/>
            </p:cNvSpPr>
            <p:nvPr/>
          </p:nvSpPr>
          <p:spPr>
            <a:xfrm>
              <a:off x="7353196" y="4367797"/>
              <a:ext cx="740939" cy="60396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2400" b="1" dirty="0">
                  <a:solidFill>
                    <a:schemeClr val="tx1"/>
                  </a:solidFill>
                </a:rPr>
                <a:t>0</a:t>
              </a:r>
              <a:endParaRPr lang="en-US" altLang="zh-CN" sz="2400" dirty="0">
                <a:solidFill>
                  <a:schemeClr val="tx1"/>
                </a:solidFill>
              </a:endParaRPr>
            </a:p>
          </p:txBody>
        </p:sp>
        <p:sp>
          <p:nvSpPr>
            <p:cNvPr id="64" name="文本占位符 5">
              <a:extLst>
                <a:ext uri="{FF2B5EF4-FFF2-40B4-BE49-F238E27FC236}">
                  <a16:creationId xmlns:a16="http://schemas.microsoft.com/office/drawing/2014/main" id="{9F7AFF0B-454B-4536-9AC7-EAE2CCC589A1}"/>
                </a:ext>
              </a:extLst>
            </p:cNvPr>
            <p:cNvSpPr txBox="1">
              <a:spLocks/>
            </p:cNvSpPr>
            <p:nvPr/>
          </p:nvSpPr>
          <p:spPr>
            <a:xfrm>
              <a:off x="11012911" y="4377387"/>
              <a:ext cx="740939" cy="60396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2400" b="1" i="1" dirty="0">
                  <a:solidFill>
                    <a:schemeClr val="tx1"/>
                  </a:solidFill>
                </a:rPr>
                <a:t>x</a:t>
              </a:r>
              <a:endParaRPr lang="en-US" altLang="zh-CN" sz="2400" i="1" dirty="0">
                <a:solidFill>
                  <a:schemeClr val="tx1"/>
                </a:solidFill>
              </a:endParaRPr>
            </a:p>
          </p:txBody>
        </p:sp>
        <p:sp>
          <p:nvSpPr>
            <p:cNvPr id="65" name="文本占位符 5">
              <a:extLst>
                <a:ext uri="{FF2B5EF4-FFF2-40B4-BE49-F238E27FC236}">
                  <a16:creationId xmlns:a16="http://schemas.microsoft.com/office/drawing/2014/main" id="{070B2E25-23F9-49BC-830A-FA0ACC977436}"/>
                </a:ext>
              </a:extLst>
            </p:cNvPr>
            <p:cNvSpPr txBox="1">
              <a:spLocks/>
            </p:cNvSpPr>
            <p:nvPr/>
          </p:nvSpPr>
          <p:spPr>
            <a:xfrm>
              <a:off x="7255778" y="1851819"/>
              <a:ext cx="740939" cy="60396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2400" b="1" i="1" dirty="0">
                  <a:solidFill>
                    <a:schemeClr val="tx1"/>
                  </a:solidFill>
                </a:rPr>
                <a:t>y</a:t>
              </a:r>
              <a:endParaRPr lang="en-US" altLang="zh-CN" sz="2400" i="1" dirty="0">
                <a:solidFill>
                  <a:schemeClr val="tx1"/>
                </a:solidFill>
              </a:endParaRPr>
            </a:p>
          </p:txBody>
        </p:sp>
        <p:sp>
          <p:nvSpPr>
            <p:cNvPr id="66" name="文本占位符 5">
              <a:extLst>
                <a:ext uri="{FF2B5EF4-FFF2-40B4-BE49-F238E27FC236}">
                  <a16:creationId xmlns:a16="http://schemas.microsoft.com/office/drawing/2014/main" id="{93F480A7-60F8-4BF6-85FF-E31ECCAFAC45}"/>
                </a:ext>
              </a:extLst>
            </p:cNvPr>
            <p:cNvSpPr txBox="1">
              <a:spLocks/>
            </p:cNvSpPr>
            <p:nvPr/>
          </p:nvSpPr>
          <p:spPr>
            <a:xfrm>
              <a:off x="10809711" y="3656095"/>
              <a:ext cx="944139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400" b="1" dirty="0">
                  <a:solidFill>
                    <a:srgbClr val="FF0000"/>
                  </a:solidFill>
                </a:rPr>
                <a:t>起点</a:t>
              </a:r>
              <a:endParaRPr lang="en-US" altLang="zh-CN" sz="2400" b="1" dirty="0">
                <a:solidFill>
                  <a:srgbClr val="FF0000"/>
                </a:solidFill>
              </a:endParaRPr>
            </a:p>
          </p:txBody>
        </p:sp>
        <p:sp>
          <p:nvSpPr>
            <p:cNvPr id="67" name="文本占位符 5">
              <a:extLst>
                <a:ext uri="{FF2B5EF4-FFF2-40B4-BE49-F238E27FC236}">
                  <a16:creationId xmlns:a16="http://schemas.microsoft.com/office/drawing/2014/main" id="{93D444A9-7B11-4D05-B23C-BD9AD0EF3643}"/>
                </a:ext>
              </a:extLst>
            </p:cNvPr>
            <p:cNvSpPr txBox="1">
              <a:spLocks/>
            </p:cNvSpPr>
            <p:nvPr/>
          </p:nvSpPr>
          <p:spPr>
            <a:xfrm>
              <a:off x="7668501" y="2319819"/>
              <a:ext cx="944139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400" b="1" dirty="0">
                  <a:solidFill>
                    <a:srgbClr val="FF0000"/>
                  </a:solidFill>
                </a:rPr>
                <a:t>终点</a:t>
              </a:r>
              <a:endParaRPr lang="en-US" altLang="zh-CN" sz="2400" b="1" dirty="0">
                <a:solidFill>
                  <a:srgbClr val="FF0000"/>
                </a:solidFill>
              </a:endParaRPr>
            </a:p>
          </p:txBody>
        </p:sp>
        <p:sp>
          <p:nvSpPr>
            <p:cNvPr id="68" name="文本占位符 5">
              <a:extLst>
                <a:ext uri="{FF2B5EF4-FFF2-40B4-BE49-F238E27FC236}">
                  <a16:creationId xmlns:a16="http://schemas.microsoft.com/office/drawing/2014/main" id="{A8C740CB-58D4-49FC-B46F-2C14EF7056F9}"/>
                </a:ext>
              </a:extLst>
            </p:cNvPr>
            <p:cNvSpPr txBox="1">
              <a:spLocks/>
            </p:cNvSpPr>
            <p:nvPr/>
          </p:nvSpPr>
          <p:spPr>
            <a:xfrm>
              <a:off x="9189357" y="2907214"/>
              <a:ext cx="1182136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2400" b="1" dirty="0">
                  <a:solidFill>
                    <a:srgbClr val="00B050"/>
                  </a:solidFill>
                </a:rPr>
                <a:t>生成点</a:t>
              </a:r>
              <a:endParaRPr lang="en-US" altLang="zh-CN" sz="2400" b="1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762CB0D8-0B5B-4917-890D-B65AB904015E}"/>
              </a:ext>
            </a:extLst>
          </p:cNvPr>
          <p:cNvGrpSpPr/>
          <p:nvPr/>
        </p:nvGrpSpPr>
        <p:grpSpPr>
          <a:xfrm>
            <a:off x="1876926" y="1580973"/>
            <a:ext cx="8031075" cy="1973499"/>
            <a:chOff x="1876926" y="1580973"/>
            <a:chExt cx="8031075" cy="1973499"/>
          </a:xfrm>
        </p:grpSpPr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F1026751-3112-48F4-83D5-9A3AA948BE10}"/>
                </a:ext>
              </a:extLst>
            </p:cNvPr>
            <p:cNvSpPr/>
            <p:nvPr/>
          </p:nvSpPr>
          <p:spPr>
            <a:xfrm>
              <a:off x="1876926" y="3225997"/>
              <a:ext cx="5115140" cy="328475"/>
            </a:xfrm>
            <a:prstGeom prst="rect">
              <a:avLst/>
            </a:prstGeom>
            <a:solidFill>
              <a:schemeClr val="bg1">
                <a:lumMod val="75000"/>
                <a:alpha val="48000"/>
              </a:schemeClr>
            </a:solidFill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对话气泡: 圆角矩形 5">
              <a:extLst>
                <a:ext uri="{FF2B5EF4-FFF2-40B4-BE49-F238E27FC236}">
                  <a16:creationId xmlns:a16="http://schemas.microsoft.com/office/drawing/2014/main" id="{6E482B0E-BD3C-4587-B64A-A0C944C86CD2}"/>
                </a:ext>
              </a:extLst>
            </p:cNvPr>
            <p:cNvSpPr/>
            <p:nvPr/>
          </p:nvSpPr>
          <p:spPr>
            <a:xfrm>
              <a:off x="6937065" y="1580973"/>
              <a:ext cx="2811952" cy="859602"/>
            </a:xfrm>
            <a:prstGeom prst="wedgeRoundRectCallout">
              <a:avLst>
                <a:gd name="adj1" fmla="val -64399"/>
                <a:gd name="adj2" fmla="val 138879"/>
                <a:gd name="adj3" fmla="val 16667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文本占位符 5">
              <a:extLst>
                <a:ext uri="{FF2B5EF4-FFF2-40B4-BE49-F238E27FC236}">
                  <a16:creationId xmlns:a16="http://schemas.microsoft.com/office/drawing/2014/main" id="{4CE5198B-782F-41EC-9CCD-969CB2C1D0BD}"/>
                </a:ext>
              </a:extLst>
            </p:cNvPr>
            <p:cNvSpPr txBox="1">
              <a:spLocks/>
            </p:cNvSpPr>
            <p:nvPr/>
          </p:nvSpPr>
          <p:spPr>
            <a:xfrm>
              <a:off x="6924497" y="1619505"/>
              <a:ext cx="2983504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600" b="1" dirty="0">
                  <a:solidFill>
                    <a:srgbClr val="FF0000"/>
                  </a:solidFill>
                </a:rPr>
                <a:t>红色参数</a:t>
              </a:r>
              <a:r>
                <a:rPr lang="zh-CN" altLang="en-US" sz="1600" dirty="0"/>
                <a:t>表示是基于运动学公式的生成量（由于在实际预测应用中该部分参数不可得）</a:t>
              </a:r>
              <a:endParaRPr lang="en-US" altLang="zh-CN" sz="1400" dirty="0"/>
            </a:p>
          </p:txBody>
        </p:sp>
      </p:grpSp>
      <p:grpSp>
        <p:nvGrpSpPr>
          <p:cNvPr id="91" name="组合 90">
            <a:extLst>
              <a:ext uri="{FF2B5EF4-FFF2-40B4-BE49-F238E27FC236}">
                <a16:creationId xmlns:a16="http://schemas.microsoft.com/office/drawing/2014/main" id="{ACFE8FED-1C19-4FCC-9BCA-AF106778A654}"/>
              </a:ext>
            </a:extLst>
          </p:cNvPr>
          <p:cNvGrpSpPr/>
          <p:nvPr/>
        </p:nvGrpSpPr>
        <p:grpSpPr>
          <a:xfrm>
            <a:off x="1881873" y="4660913"/>
            <a:ext cx="7506350" cy="623307"/>
            <a:chOff x="2317348" y="1580973"/>
            <a:chExt cx="7506350" cy="623307"/>
          </a:xfrm>
        </p:grpSpPr>
        <p:sp>
          <p:nvSpPr>
            <p:cNvPr id="116" name="矩形 115">
              <a:extLst>
                <a:ext uri="{FF2B5EF4-FFF2-40B4-BE49-F238E27FC236}">
                  <a16:creationId xmlns:a16="http://schemas.microsoft.com/office/drawing/2014/main" id="{D7E071D8-2149-483E-BD93-91C85A711DAA}"/>
                </a:ext>
              </a:extLst>
            </p:cNvPr>
            <p:cNvSpPr/>
            <p:nvPr/>
          </p:nvSpPr>
          <p:spPr>
            <a:xfrm>
              <a:off x="2317348" y="1588842"/>
              <a:ext cx="2072849" cy="328475"/>
            </a:xfrm>
            <a:prstGeom prst="rect">
              <a:avLst/>
            </a:prstGeom>
            <a:solidFill>
              <a:schemeClr val="bg1">
                <a:lumMod val="75000"/>
                <a:alpha val="48000"/>
              </a:schemeClr>
            </a:solidFill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7" name="对话气泡: 圆角矩形 116">
              <a:extLst>
                <a:ext uri="{FF2B5EF4-FFF2-40B4-BE49-F238E27FC236}">
                  <a16:creationId xmlns:a16="http://schemas.microsoft.com/office/drawing/2014/main" id="{31723CFD-2E25-4DD5-884B-B8536A999BCA}"/>
                </a:ext>
              </a:extLst>
            </p:cNvPr>
            <p:cNvSpPr/>
            <p:nvPr/>
          </p:nvSpPr>
          <p:spPr>
            <a:xfrm>
              <a:off x="6937065" y="1580973"/>
              <a:ext cx="2811952" cy="617701"/>
            </a:xfrm>
            <a:prstGeom prst="wedgeRoundRectCallout">
              <a:avLst>
                <a:gd name="adj1" fmla="val -140454"/>
                <a:gd name="adj2" fmla="val -34310"/>
                <a:gd name="adj3" fmla="val 16667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8" name="文本占位符 5">
              <a:extLst>
                <a:ext uri="{FF2B5EF4-FFF2-40B4-BE49-F238E27FC236}">
                  <a16:creationId xmlns:a16="http://schemas.microsoft.com/office/drawing/2014/main" id="{BC121B88-3D90-4CC8-86B6-E99E92358774}"/>
                </a:ext>
              </a:extLst>
            </p:cNvPr>
            <p:cNvSpPr txBox="1">
              <a:spLocks/>
            </p:cNvSpPr>
            <p:nvPr/>
          </p:nvSpPr>
          <p:spPr>
            <a:xfrm>
              <a:off x="6924497" y="1619505"/>
              <a:ext cx="2899201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sz="2000">
                  <a:solidFill>
                    <a:srgbClr val="00206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defRPr>
              </a:lvl1pPr>
              <a:lvl2pPr marL="7429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600" b="1" dirty="0">
                  <a:solidFill>
                    <a:srgbClr val="00B0F0"/>
                  </a:solidFill>
                </a:rPr>
                <a:t>蓝色参数</a:t>
              </a:r>
              <a:r>
                <a:rPr lang="zh-CN" altLang="en-US" sz="1600" dirty="0"/>
                <a:t>表示针对轨迹生成训练方法进行的输入参数改进</a:t>
              </a:r>
              <a:endParaRPr lang="en-US" altLang="zh-CN" sz="1400" dirty="0"/>
            </a:p>
          </p:txBody>
        </p:sp>
      </p:grpSp>
      <p:sp>
        <p:nvSpPr>
          <p:cNvPr id="119" name="文本占位符 5">
            <a:extLst>
              <a:ext uri="{FF2B5EF4-FFF2-40B4-BE49-F238E27FC236}">
                <a16:creationId xmlns:a16="http://schemas.microsoft.com/office/drawing/2014/main" id="{D41C2095-E336-4356-9AFD-BEBFBC0EF995}"/>
              </a:ext>
            </a:extLst>
          </p:cNvPr>
          <p:cNvSpPr txBox="1">
            <a:spLocks/>
          </p:cNvSpPr>
          <p:nvPr/>
        </p:nvSpPr>
        <p:spPr>
          <a:xfrm>
            <a:off x="7327974" y="885312"/>
            <a:ext cx="3022711" cy="380592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</a:rPr>
              <a:t>目标：提供备选轨迹集合</a:t>
            </a:r>
            <a:endParaRPr lang="en-US" altLang="zh-CN" sz="2000" b="1" dirty="0">
              <a:solidFill>
                <a:srgbClr val="FF0000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5144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CLxzji80Gic.g.9xRm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CLxzji80Gic.g.9xRm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4|5.2|16.6|1.8|12.4|9.1|2.7|2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ICV1.4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>
            <a:alpha val="16000"/>
          </a:srgbClr>
        </a:solidFill>
        <a:ln w="9525"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>
            <a:solidFill>
              <a:schemeClr val="bg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2060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2000" dirty="0" smtClean="0">
            <a:solidFill>
              <a:srgbClr val="002060"/>
            </a:solidFill>
            <a:ea typeface="微软雅黑" panose="020B0503020204020204" pitchFamily="34" charset="-122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7387</TotalTime>
  <Words>543</Words>
  <Application>Microsoft Office PowerPoint</Application>
  <PresentationFormat>宽屏</PresentationFormat>
  <Paragraphs>122</Paragraphs>
  <Slides>5</Slides>
  <Notes>5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5</vt:i4>
      </vt:variant>
    </vt:vector>
  </HeadingPairs>
  <TitlesOfParts>
    <vt:vector size="13" baseType="lpstr">
      <vt:lpstr>等线</vt:lpstr>
      <vt:lpstr>等线 Light</vt:lpstr>
      <vt:lpstr>微软雅黑</vt:lpstr>
      <vt:lpstr>Arial</vt:lpstr>
      <vt:lpstr>Times New Roman</vt:lpstr>
      <vt:lpstr>Wingdings</vt:lpstr>
      <vt:lpstr>Office 主题​​</vt:lpstr>
      <vt:lpstr>Custom Design</vt:lpstr>
      <vt:lpstr>1</vt:lpstr>
      <vt:lpstr>2</vt:lpstr>
      <vt:lpstr>3</vt:lpstr>
      <vt:lpstr>4</vt:lpstr>
      <vt:lpstr>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ai Mengchi</dc:creator>
  <cp:lastModifiedBy>ljq</cp:lastModifiedBy>
  <cp:revision>5464</cp:revision>
  <dcterms:created xsi:type="dcterms:W3CDTF">2018-09-13T07:10:17Z</dcterms:created>
  <dcterms:modified xsi:type="dcterms:W3CDTF">2021-12-04T12:12:41Z</dcterms:modified>
</cp:coreProperties>
</file>